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11" r:id="rId4"/>
  </p:sldMasterIdLst>
  <p:notesMasterIdLst>
    <p:notesMasterId r:id="rId11"/>
  </p:notesMasterIdLst>
  <p:handoutMasterIdLst>
    <p:handoutMasterId r:id="rId12"/>
  </p:handoutMasterIdLst>
  <p:sldIdLst>
    <p:sldId id="740" r:id="rId5"/>
    <p:sldId id="738" r:id="rId6"/>
    <p:sldId id="761" r:id="rId7"/>
    <p:sldId id="767" r:id="rId8"/>
    <p:sldId id="766" r:id="rId9"/>
    <p:sldId id="756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ight version" id="{41C872EC-DF97-4006-A274-43B4FE0C91F4}">
          <p14:sldIdLst/>
        </p14:section>
        <p14:section name="Untitled Section" id="{A9006D4F-A596-4517-BEC4-080B52FD778E}">
          <p14:sldIdLst>
            <p14:sldId id="740"/>
            <p14:sldId id="738"/>
            <p14:sldId id="761"/>
            <p14:sldId id="767"/>
            <p14:sldId id="766"/>
            <p14:sldId id="756"/>
          </p14:sldIdLst>
        </p14:section>
        <p14:section name="User guide" id="{F715C00E-D023-4410-8A14-CF938D4B8F5A}">
          <p14:sldIdLst/>
        </p14:section>
      </p14:sectionLst>
    </p:ext>
    <p:ext uri="{EFAFB233-063F-42B5-8137-9DF3F51BA10A}">
      <p15:sldGuideLst xmlns:p15="http://schemas.microsoft.com/office/powerpoint/2012/main">
        <p15:guide id="1" pos="551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w Bailey" initials="AB" lastIdx="2" clrIdx="0">
    <p:extLst>
      <p:ext uri="{19B8F6BF-5375-455C-9EA6-DF929625EA0E}">
        <p15:presenceInfo xmlns:p15="http://schemas.microsoft.com/office/powerpoint/2012/main" userId="Andrew Baile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52B"/>
    <a:srgbClr val="021D44"/>
    <a:srgbClr val="00AECF"/>
    <a:srgbClr val="FE555E"/>
    <a:srgbClr val="00152B"/>
    <a:srgbClr val="798399"/>
    <a:srgbClr val="BD2A2E"/>
    <a:srgbClr val="073262"/>
    <a:srgbClr val="10548C"/>
    <a:srgbClr val="FF55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639016-EC45-452F-991D-DE119FC7347F}" v="4" dt="2024-06-18T07:24:47.3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3" autoAdjust="0"/>
    <p:restoredTop sz="94660"/>
  </p:normalViewPr>
  <p:slideViewPr>
    <p:cSldViewPr snapToGrid="0">
      <p:cViewPr varScale="1">
        <p:scale>
          <a:sx n="68" d="100"/>
          <a:sy n="68" d="100"/>
        </p:scale>
        <p:origin x="78" y="282"/>
      </p:cViewPr>
      <p:guideLst>
        <p:guide pos="55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ven, Jangam" userId="1cfe9b93-8c7a-4701-b915-6abed17f40f0" providerId="ADAL" clId="{B5E25F73-A12B-414B-B6A0-12F00C0D0A3F}"/>
    <pc:docChg chg="undo custSel addSld delSld modSld addSection modSection">
      <pc:chgData name="Steven, Jangam" userId="1cfe9b93-8c7a-4701-b915-6abed17f40f0" providerId="ADAL" clId="{B5E25F73-A12B-414B-B6A0-12F00C0D0A3F}" dt="2024-06-14T11:57:54.719" v="462" actId="962"/>
      <pc:docMkLst>
        <pc:docMk/>
      </pc:docMkLst>
      <pc:sldChg chg="addSp delSp modSp mod">
        <pc:chgData name="Steven, Jangam" userId="1cfe9b93-8c7a-4701-b915-6abed17f40f0" providerId="ADAL" clId="{B5E25F73-A12B-414B-B6A0-12F00C0D0A3F}" dt="2024-06-14T05:16:57.262" v="205"/>
        <pc:sldMkLst>
          <pc:docMk/>
          <pc:sldMk cId="1760749265" sldId="738"/>
        </pc:sldMkLst>
        <pc:spChg chg="del mod modVis">
          <ac:chgData name="Steven, Jangam" userId="1cfe9b93-8c7a-4701-b915-6abed17f40f0" providerId="ADAL" clId="{B5E25F73-A12B-414B-B6A0-12F00C0D0A3F}" dt="2024-06-14T05:10:05.505" v="57" actId="478"/>
          <ac:spMkLst>
            <pc:docMk/>
            <pc:sldMk cId="1760749265" sldId="738"/>
            <ac:spMk id="2" creationId="{0F173F0F-F0F8-FFA8-5DAF-036C9FBB36E3}"/>
          </ac:spMkLst>
        </pc:spChg>
        <pc:spChg chg="del mod modVis">
          <ac:chgData name="Steven, Jangam" userId="1cfe9b93-8c7a-4701-b915-6abed17f40f0" providerId="ADAL" clId="{B5E25F73-A12B-414B-B6A0-12F00C0D0A3F}" dt="2024-06-14T05:10:01.437" v="56" actId="478"/>
          <ac:spMkLst>
            <pc:docMk/>
            <pc:sldMk cId="1760749265" sldId="738"/>
            <ac:spMk id="3" creationId="{BF4DEDB4-9492-6C26-709A-E51CD5550727}"/>
          </ac:spMkLst>
        </pc:spChg>
        <pc:spChg chg="del mod modVis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5" creationId="{A2BE0787-5928-CD35-BF9C-AB8F831E8CB0}"/>
          </ac:spMkLst>
        </pc:spChg>
        <pc:spChg chg="del mod modVis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7" creationId="{8B4735BF-3E9B-899B-375C-9E884E84CC38}"/>
          </ac:spMkLst>
        </pc:spChg>
        <pc:spChg chg="del mod modVis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8" creationId="{62681E35-C64A-9CA5-3C45-892DBBB31E94}"/>
          </ac:spMkLst>
        </pc:spChg>
        <pc:spChg chg="del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9" creationId="{A0AE5FF5-1654-D1E9-145B-308CBF6B5E2C}"/>
          </ac:spMkLst>
        </pc:spChg>
        <pc:spChg chg="del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11" creationId="{1775F32A-663E-7A05-3B9A-E312928BC57F}"/>
          </ac:spMkLst>
        </pc:spChg>
        <pc:spChg chg="add del mod">
          <ac:chgData name="Steven, Jangam" userId="1cfe9b93-8c7a-4701-b915-6abed17f40f0" providerId="ADAL" clId="{B5E25F73-A12B-414B-B6A0-12F00C0D0A3F}" dt="2024-06-14T05:10:15.242" v="59" actId="478"/>
          <ac:spMkLst>
            <pc:docMk/>
            <pc:sldMk cId="1760749265" sldId="738"/>
            <ac:spMk id="12" creationId="{90BC43F7-FAB8-4489-19F6-128D746A5CBA}"/>
          </ac:spMkLst>
        </pc:spChg>
        <pc:spChg chg="del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13" creationId="{620F907D-0C24-9288-0404-81698BBDFEDC}"/>
          </ac:spMkLst>
        </pc:spChg>
        <pc:spChg chg="del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15" creationId="{EEBBE954-5754-12AE-4B6A-23CE0B106CE7}"/>
          </ac:spMkLst>
        </pc:spChg>
        <pc:spChg chg="add del mod">
          <ac:chgData name="Steven, Jangam" userId="1cfe9b93-8c7a-4701-b915-6abed17f40f0" providerId="ADAL" clId="{B5E25F73-A12B-414B-B6A0-12F00C0D0A3F}" dt="2024-06-14T05:10:22.394" v="61" actId="478"/>
          <ac:spMkLst>
            <pc:docMk/>
            <pc:sldMk cId="1760749265" sldId="738"/>
            <ac:spMk id="16" creationId="{C3E9BB10-0A5D-4FF0-E627-465905498370}"/>
          </ac:spMkLst>
        </pc:spChg>
        <pc:spChg chg="del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17" creationId="{7FE7C69F-5A9D-61AC-0ED5-B34A98BE66FF}"/>
          </ac:spMkLst>
        </pc:spChg>
        <pc:spChg chg="del">
          <ac:chgData name="Steven, Jangam" userId="1cfe9b93-8c7a-4701-b915-6abed17f40f0" providerId="ADAL" clId="{B5E25F73-A12B-414B-B6A0-12F00C0D0A3F}" dt="2024-06-14T05:10:49.633" v="68" actId="478"/>
          <ac:spMkLst>
            <pc:docMk/>
            <pc:sldMk cId="1760749265" sldId="738"/>
            <ac:spMk id="19" creationId="{0F8D52B4-18EA-E550-39A1-7507AA5B5584}"/>
          </ac:spMkLst>
        </pc:spChg>
        <pc:spChg chg="mod modVis">
          <ac:chgData name="Steven, Jangam" userId="1cfe9b93-8c7a-4701-b915-6abed17f40f0" providerId="ADAL" clId="{B5E25F73-A12B-414B-B6A0-12F00C0D0A3F}" dt="2024-06-14T05:08:02.897" v="23"/>
          <ac:spMkLst>
            <pc:docMk/>
            <pc:sldMk cId="1760749265" sldId="738"/>
            <ac:spMk id="20" creationId="{03A5000B-7DB0-4E92-8880-F7ECCCF0EE1C}"/>
          </ac:spMkLst>
        </pc:spChg>
        <pc:spChg chg="add del mod">
          <ac:chgData name="Steven, Jangam" userId="1cfe9b93-8c7a-4701-b915-6abed17f40f0" providerId="ADAL" clId="{B5E25F73-A12B-414B-B6A0-12F00C0D0A3F}" dt="2024-06-14T05:10:30.483" v="63" actId="478"/>
          <ac:spMkLst>
            <pc:docMk/>
            <pc:sldMk cId="1760749265" sldId="738"/>
            <ac:spMk id="21" creationId="{ECA4C4EE-93AD-C611-1698-0A4CCE6C1D6D}"/>
          </ac:spMkLst>
        </pc:spChg>
        <pc:spChg chg="del">
          <ac:chgData name="Steven, Jangam" userId="1cfe9b93-8c7a-4701-b915-6abed17f40f0" providerId="ADAL" clId="{B5E25F73-A12B-414B-B6A0-12F00C0D0A3F}" dt="2024-06-14T05:10:40.570" v="66" actId="478"/>
          <ac:spMkLst>
            <pc:docMk/>
            <pc:sldMk cId="1760749265" sldId="738"/>
            <ac:spMk id="22" creationId="{BF4F3710-9CED-A098-366A-A1715A6A195D}"/>
          </ac:spMkLst>
        </pc:spChg>
        <pc:spChg chg="del">
          <ac:chgData name="Steven, Jangam" userId="1cfe9b93-8c7a-4701-b915-6abed17f40f0" providerId="ADAL" clId="{B5E25F73-A12B-414B-B6A0-12F00C0D0A3F}" dt="2024-06-14T05:10:34.040" v="64" actId="478"/>
          <ac:spMkLst>
            <pc:docMk/>
            <pc:sldMk cId="1760749265" sldId="738"/>
            <ac:spMk id="24" creationId="{36A017D9-7A17-22BB-DF36-1E85381F16ED}"/>
          </ac:spMkLst>
        </pc:spChg>
        <pc:spChg chg="add del mod">
          <ac:chgData name="Steven, Jangam" userId="1cfe9b93-8c7a-4701-b915-6abed17f40f0" providerId="ADAL" clId="{B5E25F73-A12B-414B-B6A0-12F00C0D0A3F}" dt="2024-06-14T05:10:36.743" v="65" actId="478"/>
          <ac:spMkLst>
            <pc:docMk/>
            <pc:sldMk cId="1760749265" sldId="738"/>
            <ac:spMk id="25" creationId="{0293308A-7166-46AD-B290-1ACB2D215225}"/>
          </ac:spMkLst>
        </pc:spChg>
        <pc:spChg chg="del mod modVis">
          <ac:chgData name="Steven, Jangam" userId="1cfe9b93-8c7a-4701-b915-6abed17f40f0" providerId="ADAL" clId="{B5E25F73-A12B-414B-B6A0-12F00C0D0A3F}" dt="2024-06-14T05:10:26.456" v="62" actId="478"/>
          <ac:spMkLst>
            <pc:docMk/>
            <pc:sldMk cId="1760749265" sldId="738"/>
            <ac:spMk id="26" creationId="{86338D9B-7801-7CDA-75E4-4237E42D5002}"/>
          </ac:spMkLst>
        </pc:spChg>
        <pc:spChg chg="del mod modVis">
          <ac:chgData name="Steven, Jangam" userId="1cfe9b93-8c7a-4701-b915-6abed17f40f0" providerId="ADAL" clId="{B5E25F73-A12B-414B-B6A0-12F00C0D0A3F}" dt="2024-06-14T05:10:18.846" v="60" actId="478"/>
          <ac:spMkLst>
            <pc:docMk/>
            <pc:sldMk cId="1760749265" sldId="738"/>
            <ac:spMk id="28" creationId="{580F09CC-7407-D482-F7D3-89496BC2E0B5}"/>
          </ac:spMkLst>
        </pc:spChg>
        <pc:spChg chg="add del mod">
          <ac:chgData name="Steven, Jangam" userId="1cfe9b93-8c7a-4701-b915-6abed17f40f0" providerId="ADAL" clId="{B5E25F73-A12B-414B-B6A0-12F00C0D0A3F}" dt="2024-06-14T05:10:45.670" v="67" actId="478"/>
          <ac:spMkLst>
            <pc:docMk/>
            <pc:sldMk cId="1760749265" sldId="738"/>
            <ac:spMk id="29" creationId="{F5B8E102-BD9A-487C-2D5A-5F7DA437E56B}"/>
          </ac:spMkLst>
        </pc:spChg>
        <pc:spChg chg="del mod modVis">
          <ac:chgData name="Steven, Jangam" userId="1cfe9b93-8c7a-4701-b915-6abed17f40f0" providerId="ADAL" clId="{B5E25F73-A12B-414B-B6A0-12F00C0D0A3F}" dt="2024-06-14T05:10:09.229" v="58" actId="478"/>
          <ac:spMkLst>
            <pc:docMk/>
            <pc:sldMk cId="1760749265" sldId="738"/>
            <ac:spMk id="30" creationId="{4E0EC89E-0903-A6C0-B1E9-28112F3DE5B2}"/>
          </ac:spMkLst>
        </pc:spChg>
        <pc:spChg chg="add del mod">
          <ac:chgData name="Steven, Jangam" userId="1cfe9b93-8c7a-4701-b915-6abed17f40f0" providerId="ADAL" clId="{B5E25F73-A12B-414B-B6A0-12F00C0D0A3F}" dt="2024-06-14T05:11:06.807" v="71" actId="478"/>
          <ac:spMkLst>
            <pc:docMk/>
            <pc:sldMk cId="1760749265" sldId="738"/>
            <ac:spMk id="32" creationId="{2D8AF19C-A27C-CCAF-5D72-538DA185D948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34" creationId="{87605B0A-7F6A-B7E0-6466-284E9D2995A0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36" creationId="{1329D372-C53F-B240-EC50-457578569576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38" creationId="{3EEF4F00-EF0D-9750-9DE9-0961030AB120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40" creationId="{8186C0F7-B1A2-CDE7-0706-CD38998ED4E3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42" creationId="{2CB7311C-2C54-9EDD-F2F6-3D1E711C86F2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44" creationId="{33118234-7BD2-2835-E2B9-9A1316EBA830}"/>
          </ac:spMkLst>
        </pc:spChg>
        <pc:spChg chg="add del mod modVis">
          <ac:chgData name="Steven, Jangam" userId="1cfe9b93-8c7a-4701-b915-6abed17f40f0" providerId="ADAL" clId="{B5E25F73-A12B-414B-B6A0-12F00C0D0A3F}" dt="2024-06-14T05:16:18.699" v="199" actId="478"/>
          <ac:spMkLst>
            <pc:docMk/>
            <pc:sldMk cId="1760749265" sldId="738"/>
            <ac:spMk id="45" creationId="{8E302E2F-9B79-1246-B063-953B25773586}"/>
          </ac:spMkLst>
        </pc:spChg>
        <pc:spChg chg="add del mod">
          <ac:chgData name="Steven, Jangam" userId="1cfe9b93-8c7a-4701-b915-6abed17f40f0" providerId="ADAL" clId="{B5E25F73-A12B-414B-B6A0-12F00C0D0A3F}" dt="2024-06-14T05:13:00.903" v="85" actId="478"/>
          <ac:spMkLst>
            <pc:docMk/>
            <pc:sldMk cId="1760749265" sldId="738"/>
            <ac:spMk id="46" creationId="{87F7EE70-3FF8-C16F-0DA4-1ECBB75C43A4}"/>
          </ac:spMkLst>
        </pc:spChg>
        <pc:spChg chg="add mod modVis">
          <ac:chgData name="Steven, Jangam" userId="1cfe9b93-8c7a-4701-b915-6abed17f40f0" providerId="ADAL" clId="{B5E25F73-A12B-414B-B6A0-12F00C0D0A3F}" dt="2024-06-14T05:16:57.262" v="205"/>
          <ac:spMkLst>
            <pc:docMk/>
            <pc:sldMk cId="1760749265" sldId="738"/>
            <ac:spMk id="47" creationId="{3A0FEF3C-FAA5-EC77-C927-B5428A7A5C45}"/>
          </ac:spMkLst>
        </pc:spChg>
        <pc:picChg chg="mod modVis">
          <ac:chgData name="Steven, Jangam" userId="1cfe9b93-8c7a-4701-b915-6abed17f40f0" providerId="ADAL" clId="{B5E25F73-A12B-414B-B6A0-12F00C0D0A3F}" dt="2024-06-14T05:16:47.227" v="202"/>
          <ac:picMkLst>
            <pc:docMk/>
            <pc:sldMk cId="1760749265" sldId="738"/>
            <ac:picMk id="6" creationId="{1D7F208E-7A8A-1D1F-C1F0-9CE771184E26}"/>
          </ac:picMkLst>
        </pc:picChg>
        <pc:cxnChg chg="mod modVis">
          <ac:chgData name="Steven, Jangam" userId="1cfe9b93-8c7a-4701-b915-6abed17f40f0" providerId="ADAL" clId="{B5E25F73-A12B-414B-B6A0-12F00C0D0A3F}" dt="2024-06-14T05:08:38.007" v="52"/>
          <ac:cxnSpMkLst>
            <pc:docMk/>
            <pc:sldMk cId="1760749265" sldId="738"/>
            <ac:cxnSpMk id="4" creationId="{E56DF761-535F-1A9B-E273-6A7816291728}"/>
          </ac:cxnSpMkLst>
        </pc:cxnChg>
      </pc:sldChg>
      <pc:sldChg chg="addSp delSp modSp mod modClrScheme chgLayout">
        <pc:chgData name="Steven, Jangam" userId="1cfe9b93-8c7a-4701-b915-6abed17f40f0" providerId="ADAL" clId="{B5E25F73-A12B-414B-B6A0-12F00C0D0A3F}" dt="2024-06-14T11:57:00.207" v="458" actId="962"/>
        <pc:sldMkLst>
          <pc:docMk/>
          <pc:sldMk cId="1195199294" sldId="740"/>
        </pc:sldMkLst>
        <pc:spChg chg="mod ord modVis">
          <ac:chgData name="Steven, Jangam" userId="1cfe9b93-8c7a-4701-b915-6abed17f40f0" providerId="ADAL" clId="{B5E25F73-A12B-414B-B6A0-12F00C0D0A3F}" dt="2024-06-14T11:57:00.207" v="458" actId="962"/>
          <ac:spMkLst>
            <pc:docMk/>
            <pc:sldMk cId="1195199294" sldId="740"/>
            <ac:spMk id="2" creationId="{F2D7495F-E21A-ED45-174E-B6089E88F2A0}"/>
          </ac:spMkLst>
        </pc:spChg>
        <pc:spChg chg="mod ord modVis">
          <ac:chgData name="Steven, Jangam" userId="1cfe9b93-8c7a-4701-b915-6abed17f40f0" providerId="ADAL" clId="{B5E25F73-A12B-414B-B6A0-12F00C0D0A3F}" dt="2024-06-14T05:05:45.277" v="14" actId="14429"/>
          <ac:spMkLst>
            <pc:docMk/>
            <pc:sldMk cId="1195199294" sldId="740"/>
            <ac:spMk id="3" creationId="{89BDDC17-0663-92D6-A88A-B7FE48A9D2D7}"/>
          </ac:spMkLst>
        </pc:spChg>
        <pc:spChg chg="mod ord">
          <ac:chgData name="Steven, Jangam" userId="1cfe9b93-8c7a-4701-b915-6abed17f40f0" providerId="ADAL" clId="{B5E25F73-A12B-414B-B6A0-12F00C0D0A3F}" dt="2024-06-14T05:00:57.077" v="4" actId="700"/>
          <ac:spMkLst>
            <pc:docMk/>
            <pc:sldMk cId="1195199294" sldId="740"/>
            <ac:spMk id="4" creationId="{BE051AC9-7339-4C32-D1E9-43AB2CA473C3}"/>
          </ac:spMkLst>
        </pc:spChg>
        <pc:spChg chg="add del mod ord">
          <ac:chgData name="Steven, Jangam" userId="1cfe9b93-8c7a-4701-b915-6abed17f40f0" providerId="ADAL" clId="{B5E25F73-A12B-414B-B6A0-12F00C0D0A3F}" dt="2024-06-14T05:00:21.145" v="1" actId="700"/>
          <ac:spMkLst>
            <pc:docMk/>
            <pc:sldMk cId="1195199294" sldId="740"/>
            <ac:spMk id="5" creationId="{00A1236B-A3E5-FAF0-8008-59E6A68E40F2}"/>
          </ac:spMkLst>
        </pc:spChg>
        <pc:spChg chg="add del mod ord">
          <ac:chgData name="Steven, Jangam" userId="1cfe9b93-8c7a-4701-b915-6abed17f40f0" providerId="ADAL" clId="{B5E25F73-A12B-414B-B6A0-12F00C0D0A3F}" dt="2024-06-14T05:00:57.077" v="4" actId="700"/>
          <ac:spMkLst>
            <pc:docMk/>
            <pc:sldMk cId="1195199294" sldId="740"/>
            <ac:spMk id="7" creationId="{EEEF369B-8C1D-AD3D-44F8-B77D5228BA9E}"/>
          </ac:spMkLst>
        </pc:spChg>
        <pc:picChg chg="mod modVis">
          <ac:chgData name="Steven, Jangam" userId="1cfe9b93-8c7a-4701-b915-6abed17f40f0" providerId="ADAL" clId="{B5E25F73-A12B-414B-B6A0-12F00C0D0A3F}" dt="2024-06-14T05:05:54.812" v="17" actId="14429"/>
          <ac:picMkLst>
            <pc:docMk/>
            <pc:sldMk cId="1195199294" sldId="740"/>
            <ac:picMk id="6" creationId="{B5106245-AE79-3921-A280-7F3CE349E701}"/>
          </ac:picMkLst>
        </pc:picChg>
      </pc:sldChg>
      <pc:sldChg chg="addSp delSp modSp del mod chgLayout">
        <pc:chgData name="Steven, Jangam" userId="1cfe9b93-8c7a-4701-b915-6abed17f40f0" providerId="ADAL" clId="{B5E25F73-A12B-414B-B6A0-12F00C0D0A3F}" dt="2024-06-14T06:08:37.584" v="242" actId="2696"/>
        <pc:sldMkLst>
          <pc:docMk/>
          <pc:sldMk cId="2020086093" sldId="747"/>
        </pc:sldMkLst>
        <pc:spChg chg="mod ord">
          <ac:chgData name="Steven, Jangam" userId="1cfe9b93-8c7a-4701-b915-6abed17f40f0" providerId="ADAL" clId="{B5E25F73-A12B-414B-B6A0-12F00C0D0A3F}" dt="2024-06-14T06:08:22.587" v="241" actId="6264"/>
          <ac:spMkLst>
            <pc:docMk/>
            <pc:sldMk cId="2020086093" sldId="747"/>
            <ac:spMk id="2" creationId="{CEB336D1-9F97-4093-AB23-68674EE09C18}"/>
          </ac:spMkLst>
        </pc:spChg>
        <pc:spChg chg="add del mod">
          <ac:chgData name="Steven, Jangam" userId="1cfe9b93-8c7a-4701-b915-6abed17f40f0" providerId="ADAL" clId="{B5E25F73-A12B-414B-B6A0-12F00C0D0A3F}" dt="2024-06-14T06:08:22.587" v="241" actId="6264"/>
          <ac:spMkLst>
            <pc:docMk/>
            <pc:sldMk cId="2020086093" sldId="747"/>
            <ac:spMk id="3" creationId="{9D394D94-14F7-4167-795C-7858E2AFDDA1}"/>
          </ac:spMkLst>
        </pc:spChg>
        <pc:spChg chg="add mod ord">
          <ac:chgData name="Steven, Jangam" userId="1cfe9b93-8c7a-4701-b915-6abed17f40f0" providerId="ADAL" clId="{B5E25F73-A12B-414B-B6A0-12F00C0D0A3F}" dt="2024-06-14T06:08:22.587" v="241" actId="6264"/>
          <ac:spMkLst>
            <pc:docMk/>
            <pc:sldMk cId="2020086093" sldId="747"/>
            <ac:spMk id="9" creationId="{14BA724D-3152-7BC0-C6B9-B4BB6154D580}"/>
          </ac:spMkLst>
        </pc:spChg>
      </pc:sldChg>
      <pc:sldChg chg="addSp delSp modSp mod">
        <pc:chgData name="Steven, Jangam" userId="1cfe9b93-8c7a-4701-b915-6abed17f40f0" providerId="ADAL" clId="{B5E25F73-A12B-414B-B6A0-12F00C0D0A3F}" dt="2024-06-14T11:57:54.719" v="462" actId="962"/>
        <pc:sldMkLst>
          <pc:docMk/>
          <pc:sldMk cId="1789046397" sldId="756"/>
        </pc:sldMkLst>
        <pc:spChg chg="del mod modVis">
          <ac:chgData name="Steven, Jangam" userId="1cfe9b93-8c7a-4701-b915-6abed17f40f0" providerId="ADAL" clId="{B5E25F73-A12B-414B-B6A0-12F00C0D0A3F}" dt="2024-06-14T06:25:10.727" v="380" actId="478"/>
          <ac:spMkLst>
            <pc:docMk/>
            <pc:sldMk cId="1789046397" sldId="756"/>
            <ac:spMk id="2" creationId="{F0424321-812E-1DF9-6DC5-E9AC1F91AB25}"/>
          </ac:spMkLst>
        </pc:spChg>
        <pc:spChg chg="del mod modVis">
          <ac:chgData name="Steven, Jangam" userId="1cfe9b93-8c7a-4701-b915-6abed17f40f0" providerId="ADAL" clId="{B5E25F73-A12B-414B-B6A0-12F00C0D0A3F}" dt="2024-06-14T06:24:50.667" v="376" actId="478"/>
          <ac:spMkLst>
            <pc:docMk/>
            <pc:sldMk cId="1789046397" sldId="756"/>
            <ac:spMk id="3" creationId="{006B463B-348B-6B03-18C6-9236EA51ADA8}"/>
          </ac:spMkLst>
        </pc:spChg>
        <pc:spChg chg="mod modVis">
          <ac:chgData name="Steven, Jangam" userId="1cfe9b93-8c7a-4701-b915-6abed17f40f0" providerId="ADAL" clId="{B5E25F73-A12B-414B-B6A0-12F00C0D0A3F}" dt="2024-06-14T11:57:47.234" v="461" actId="962"/>
          <ac:spMkLst>
            <pc:docMk/>
            <pc:sldMk cId="1789046397" sldId="756"/>
            <ac:spMk id="4" creationId="{ED732E74-1D8C-2E10-BCF7-CE5AF64BD33A}"/>
          </ac:spMkLst>
        </pc:spChg>
        <pc:spChg chg="add mod">
          <ac:chgData name="Steven, Jangam" userId="1cfe9b93-8c7a-4701-b915-6abed17f40f0" providerId="ADAL" clId="{B5E25F73-A12B-414B-B6A0-12F00C0D0A3F}" dt="2024-06-14T11:57:54.719" v="462" actId="962"/>
          <ac:spMkLst>
            <pc:docMk/>
            <pc:sldMk cId="1789046397" sldId="756"/>
            <ac:spMk id="5" creationId="{D451618F-FB21-5623-B327-7C6C58323EF2}"/>
          </ac:spMkLst>
        </pc:spChg>
        <pc:picChg chg="mod modVis">
          <ac:chgData name="Steven, Jangam" userId="1cfe9b93-8c7a-4701-b915-6abed17f40f0" providerId="ADAL" clId="{B5E25F73-A12B-414B-B6A0-12F00C0D0A3F}" dt="2024-06-14T06:24:27.789" v="368"/>
          <ac:picMkLst>
            <pc:docMk/>
            <pc:sldMk cId="1789046397" sldId="756"/>
            <ac:picMk id="7" creationId="{444025C7-2052-B995-584F-10277A613B31}"/>
          </ac:picMkLst>
        </pc:picChg>
      </pc:sldChg>
      <pc:sldChg chg="del">
        <pc:chgData name="Steven, Jangam" userId="1cfe9b93-8c7a-4701-b915-6abed17f40f0" providerId="ADAL" clId="{B5E25F73-A12B-414B-B6A0-12F00C0D0A3F}" dt="2024-06-14T06:17:02.522" v="359" actId="2696"/>
        <pc:sldMkLst>
          <pc:docMk/>
          <pc:sldMk cId="1457279518" sldId="757"/>
        </pc:sldMkLst>
      </pc:sldChg>
      <pc:sldChg chg="del">
        <pc:chgData name="Steven, Jangam" userId="1cfe9b93-8c7a-4701-b915-6abed17f40f0" providerId="ADAL" clId="{B5E25F73-A12B-414B-B6A0-12F00C0D0A3F}" dt="2024-06-14T05:11:33.334" v="73" actId="2696"/>
        <pc:sldMkLst>
          <pc:docMk/>
          <pc:sldMk cId="3735467777" sldId="758"/>
        </pc:sldMkLst>
      </pc:sldChg>
      <pc:sldChg chg="del">
        <pc:chgData name="Steven, Jangam" userId="1cfe9b93-8c7a-4701-b915-6abed17f40f0" providerId="ADAL" clId="{B5E25F73-A12B-414B-B6A0-12F00C0D0A3F}" dt="2024-06-14T06:10:05.969" v="246" actId="2696"/>
        <pc:sldMkLst>
          <pc:docMk/>
          <pc:sldMk cId="446244895" sldId="759"/>
        </pc:sldMkLst>
      </pc:sldChg>
      <pc:sldChg chg="del">
        <pc:chgData name="Steven, Jangam" userId="1cfe9b93-8c7a-4701-b915-6abed17f40f0" providerId="ADAL" clId="{B5E25F73-A12B-414B-B6A0-12F00C0D0A3F}" dt="2024-06-14T06:08:52.077" v="244" actId="2696"/>
        <pc:sldMkLst>
          <pc:docMk/>
          <pc:sldMk cId="4038914054" sldId="760"/>
        </pc:sldMkLst>
      </pc:sldChg>
      <pc:sldChg chg="addSp delSp modSp mod">
        <pc:chgData name="Steven, Jangam" userId="1cfe9b93-8c7a-4701-b915-6abed17f40f0" providerId="ADAL" clId="{B5E25F73-A12B-414B-B6A0-12F00C0D0A3F}" dt="2024-06-14T11:57:20.464" v="459" actId="962"/>
        <pc:sldMkLst>
          <pc:docMk/>
          <pc:sldMk cId="3143534610" sldId="761"/>
        </pc:sldMkLst>
        <pc:spChg chg="mod modVis">
          <ac:chgData name="Steven, Jangam" userId="1cfe9b93-8c7a-4701-b915-6abed17f40f0" providerId="ADAL" clId="{B5E25F73-A12B-414B-B6A0-12F00C0D0A3F}" dt="2024-06-14T06:06:03.078" v="231" actId="14429"/>
          <ac:spMkLst>
            <pc:docMk/>
            <pc:sldMk cId="3143534610" sldId="761"/>
            <ac:spMk id="2" creationId="{CEB336D1-9F97-4093-AB23-68674EE09C18}"/>
          </ac:spMkLst>
        </pc:spChg>
        <pc:spChg chg="mod modVis">
          <ac:chgData name="Steven, Jangam" userId="1cfe9b93-8c7a-4701-b915-6abed17f40f0" providerId="ADAL" clId="{B5E25F73-A12B-414B-B6A0-12F00C0D0A3F}" dt="2024-06-14T06:06:40.491" v="236" actId="962"/>
          <ac:spMkLst>
            <pc:docMk/>
            <pc:sldMk cId="3143534610" sldId="761"/>
            <ac:spMk id="6" creationId="{FC63CB46-F540-2278-BD64-F4759A620AB9}"/>
          </ac:spMkLst>
        </pc:spChg>
        <pc:spChg chg="add mod modVis">
          <ac:chgData name="Steven, Jangam" userId="1cfe9b93-8c7a-4701-b915-6abed17f40f0" providerId="ADAL" clId="{B5E25F73-A12B-414B-B6A0-12F00C0D0A3F}" dt="2024-06-14T11:57:20.464" v="459" actId="962"/>
          <ac:spMkLst>
            <pc:docMk/>
            <pc:sldMk cId="3143534610" sldId="761"/>
            <ac:spMk id="8" creationId="{F0D431EA-FDCA-9FD4-0C1A-ABAFB94EF347}"/>
          </ac:spMkLst>
        </pc:spChg>
        <pc:picChg chg="del">
          <ac:chgData name="Steven, Jangam" userId="1cfe9b93-8c7a-4701-b915-6abed17f40f0" providerId="ADAL" clId="{B5E25F73-A12B-414B-B6A0-12F00C0D0A3F}" dt="2024-06-14T05:11:20.914" v="72" actId="478"/>
          <ac:picMkLst>
            <pc:docMk/>
            <pc:sldMk cId="3143534610" sldId="761"/>
            <ac:picMk id="5" creationId="{68267908-280D-FA88-6124-CCAF1F15342C}"/>
          </ac:picMkLst>
        </pc:picChg>
        <pc:cxnChg chg="mod modVis">
          <ac:chgData name="Steven, Jangam" userId="1cfe9b93-8c7a-4701-b915-6abed17f40f0" providerId="ADAL" clId="{B5E25F73-A12B-414B-B6A0-12F00C0D0A3F}" dt="2024-06-14T06:06:00.714" v="229" actId="14429"/>
          <ac:cxnSpMkLst>
            <pc:docMk/>
            <pc:sldMk cId="3143534610" sldId="761"/>
            <ac:cxnSpMk id="4" creationId="{A9B4F7A1-3D57-F78A-A9F3-BB3C3CA47198}"/>
          </ac:cxnSpMkLst>
        </pc:cxnChg>
      </pc:sldChg>
      <pc:sldChg chg="del">
        <pc:chgData name="Steven, Jangam" userId="1cfe9b93-8c7a-4701-b915-6abed17f40f0" providerId="ADAL" clId="{B5E25F73-A12B-414B-B6A0-12F00C0D0A3F}" dt="2024-06-14T06:08:42.269" v="243" actId="2696"/>
        <pc:sldMkLst>
          <pc:docMk/>
          <pc:sldMk cId="2815078484" sldId="762"/>
        </pc:sldMkLst>
      </pc:sldChg>
      <pc:sldChg chg="modSp add">
        <pc:chgData name="Steven, Jangam" userId="1cfe9b93-8c7a-4701-b915-6abed17f40f0" providerId="ADAL" clId="{B5E25F73-A12B-414B-B6A0-12F00C0D0A3F}" dt="2024-06-14T11:57:33.353" v="460" actId="962"/>
        <pc:sldMkLst>
          <pc:docMk/>
          <pc:sldMk cId="2294668998" sldId="763"/>
        </pc:sldMkLst>
        <pc:spChg chg="mod">
          <ac:chgData name="Steven, Jangam" userId="1cfe9b93-8c7a-4701-b915-6abed17f40f0" providerId="ADAL" clId="{B5E25F73-A12B-414B-B6A0-12F00C0D0A3F}" dt="2024-06-14T11:57:33.353" v="460" actId="962"/>
          <ac:spMkLst>
            <pc:docMk/>
            <pc:sldMk cId="2294668998" sldId="763"/>
            <ac:spMk id="8" creationId="{F0D431EA-FDCA-9FD4-0C1A-ABAFB94EF347}"/>
          </ac:spMkLst>
        </pc:spChg>
      </pc:sldChg>
      <pc:sldChg chg="addSp delSp modSp new del mod modClrScheme chgLayout">
        <pc:chgData name="Steven, Jangam" userId="1cfe9b93-8c7a-4701-b915-6abed17f40f0" providerId="ADAL" clId="{B5E25F73-A12B-414B-B6A0-12F00C0D0A3F}" dt="2024-06-14T08:59:44.948" v="450" actId="2696"/>
        <pc:sldMkLst>
          <pc:docMk/>
          <pc:sldMk cId="2414849073" sldId="764"/>
        </pc:sldMkLst>
        <pc:spChg chg="del mod ord">
          <ac:chgData name="Steven, Jangam" userId="1cfe9b93-8c7a-4701-b915-6abed17f40f0" providerId="ADAL" clId="{B5E25F73-A12B-414B-B6A0-12F00C0D0A3F}" dt="2024-06-14T06:10:18.589" v="247" actId="700"/>
          <ac:spMkLst>
            <pc:docMk/>
            <pc:sldMk cId="2414849073" sldId="764"/>
            <ac:spMk id="2" creationId="{DF09B929-EBB1-AB82-909A-077364819991}"/>
          </ac:spMkLst>
        </pc:spChg>
        <pc:spChg chg="del mod ord">
          <ac:chgData name="Steven, Jangam" userId="1cfe9b93-8c7a-4701-b915-6abed17f40f0" providerId="ADAL" clId="{B5E25F73-A12B-414B-B6A0-12F00C0D0A3F}" dt="2024-06-14T06:10:18.589" v="247" actId="700"/>
          <ac:spMkLst>
            <pc:docMk/>
            <pc:sldMk cId="2414849073" sldId="764"/>
            <ac:spMk id="3" creationId="{FF63F39B-987F-B2E7-E084-AF7F14D9F51E}"/>
          </ac:spMkLst>
        </pc:spChg>
        <pc:spChg chg="add del mod ord">
          <ac:chgData name="Steven, Jangam" userId="1cfe9b93-8c7a-4701-b915-6abed17f40f0" providerId="ADAL" clId="{B5E25F73-A12B-414B-B6A0-12F00C0D0A3F}" dt="2024-06-14T06:10:55.709" v="248" actId="700"/>
          <ac:spMkLst>
            <pc:docMk/>
            <pc:sldMk cId="2414849073" sldId="764"/>
            <ac:spMk id="4" creationId="{EDD435E8-E9E1-123B-5F9F-6FEB0976B358}"/>
          </ac:spMkLst>
        </pc:spChg>
        <pc:spChg chg="add del mod ord">
          <ac:chgData name="Steven, Jangam" userId="1cfe9b93-8c7a-4701-b915-6abed17f40f0" providerId="ADAL" clId="{B5E25F73-A12B-414B-B6A0-12F00C0D0A3F}" dt="2024-06-14T06:10:55.709" v="248" actId="700"/>
          <ac:spMkLst>
            <pc:docMk/>
            <pc:sldMk cId="2414849073" sldId="764"/>
            <ac:spMk id="5" creationId="{A9C85C06-55FC-F356-9141-380F9086B7A8}"/>
          </ac:spMkLst>
        </pc:spChg>
        <pc:spChg chg="add del mod ord">
          <ac:chgData name="Steven, Jangam" userId="1cfe9b93-8c7a-4701-b915-6abed17f40f0" providerId="ADAL" clId="{B5E25F73-A12B-414B-B6A0-12F00C0D0A3F}" dt="2024-06-14T06:10:55.709" v="248" actId="700"/>
          <ac:spMkLst>
            <pc:docMk/>
            <pc:sldMk cId="2414849073" sldId="764"/>
            <ac:spMk id="6" creationId="{1AD7025B-D0BE-C33C-FB3D-C15276836FCA}"/>
          </ac:spMkLst>
        </pc:spChg>
        <pc:spChg chg="add del mod ord">
          <ac:chgData name="Steven, Jangam" userId="1cfe9b93-8c7a-4701-b915-6abed17f40f0" providerId="ADAL" clId="{B5E25F73-A12B-414B-B6A0-12F00C0D0A3F}" dt="2024-06-14T06:10:55.709" v="248" actId="700"/>
          <ac:spMkLst>
            <pc:docMk/>
            <pc:sldMk cId="2414849073" sldId="764"/>
            <ac:spMk id="7" creationId="{FD5120D3-1235-5175-20EE-913505874D8F}"/>
          </ac:spMkLst>
        </pc:spChg>
        <pc:spChg chg="add mod">
          <ac:chgData name="Steven, Jangam" userId="1cfe9b93-8c7a-4701-b915-6abed17f40f0" providerId="ADAL" clId="{B5E25F73-A12B-414B-B6A0-12F00C0D0A3F}" dt="2024-06-14T06:14:35.550" v="308" actId="207"/>
          <ac:spMkLst>
            <pc:docMk/>
            <pc:sldMk cId="2414849073" sldId="764"/>
            <ac:spMk id="8" creationId="{FA6BEE8F-EA1D-DA98-1FCA-4D3A3149667D}"/>
          </ac:spMkLst>
        </pc:spChg>
        <pc:spChg chg="add del mod">
          <ac:chgData name="Steven, Jangam" userId="1cfe9b93-8c7a-4701-b915-6abed17f40f0" providerId="ADAL" clId="{B5E25F73-A12B-414B-B6A0-12F00C0D0A3F}" dt="2024-06-14T06:12:07.059" v="254" actId="478"/>
          <ac:spMkLst>
            <pc:docMk/>
            <pc:sldMk cId="2414849073" sldId="764"/>
            <ac:spMk id="9" creationId="{5FA80E49-5443-C41B-E665-6EB538B70727}"/>
          </ac:spMkLst>
        </pc:spChg>
        <pc:spChg chg="add del mod">
          <ac:chgData name="Steven, Jangam" userId="1cfe9b93-8c7a-4701-b915-6abed17f40f0" providerId="ADAL" clId="{B5E25F73-A12B-414B-B6A0-12F00C0D0A3F}" dt="2024-06-14T06:12:25.525" v="259" actId="478"/>
          <ac:spMkLst>
            <pc:docMk/>
            <pc:sldMk cId="2414849073" sldId="764"/>
            <ac:spMk id="10" creationId="{EBE7FBDE-E37C-6C50-6F31-6AE305D6FF2A}"/>
          </ac:spMkLst>
        </pc:spChg>
        <pc:spChg chg="add del mod">
          <ac:chgData name="Steven, Jangam" userId="1cfe9b93-8c7a-4701-b915-6abed17f40f0" providerId="ADAL" clId="{B5E25F73-A12B-414B-B6A0-12F00C0D0A3F}" dt="2024-06-14T06:12:33.143" v="260" actId="478"/>
          <ac:spMkLst>
            <pc:docMk/>
            <pc:sldMk cId="2414849073" sldId="764"/>
            <ac:spMk id="12" creationId="{03DC5936-C064-37CD-AD44-0E610BFC8FB1}"/>
          </ac:spMkLst>
        </pc:spChg>
        <pc:spChg chg="add mod">
          <ac:chgData name="Steven, Jangam" userId="1cfe9b93-8c7a-4701-b915-6abed17f40f0" providerId="ADAL" clId="{B5E25F73-A12B-414B-B6A0-12F00C0D0A3F}" dt="2024-06-14T06:13:52.106" v="268" actId="1076"/>
          <ac:spMkLst>
            <pc:docMk/>
            <pc:sldMk cId="2414849073" sldId="764"/>
            <ac:spMk id="13" creationId="{F2E89E21-2FA9-3AE6-E380-F2D6882FB3AE}"/>
          </ac:spMkLst>
        </pc:spChg>
        <pc:spChg chg="add mod">
          <ac:chgData name="Steven, Jangam" userId="1cfe9b93-8c7a-4701-b915-6abed17f40f0" providerId="ADAL" clId="{B5E25F73-A12B-414B-B6A0-12F00C0D0A3F}" dt="2024-06-14T06:16:27.180" v="358" actId="20577"/>
          <ac:spMkLst>
            <pc:docMk/>
            <pc:sldMk cId="2414849073" sldId="764"/>
            <ac:spMk id="14" creationId="{BC881D10-C48D-4D14-217C-2275436D5346}"/>
          </ac:spMkLst>
        </pc:spChg>
        <pc:picChg chg="add mod">
          <ac:chgData name="Steven, Jangam" userId="1cfe9b93-8c7a-4701-b915-6abed17f40f0" providerId="ADAL" clId="{B5E25F73-A12B-414B-B6A0-12F00C0D0A3F}" dt="2024-06-14T06:22:13.013" v="362" actId="1076"/>
          <ac:picMkLst>
            <pc:docMk/>
            <pc:sldMk cId="2414849073" sldId="764"/>
            <ac:picMk id="1026" creationId="{707374C8-E3F6-5D48-F755-ED0DD876C9F4}"/>
          </ac:picMkLst>
        </pc:picChg>
      </pc:sldChg>
      <pc:sldChg chg="addSp delSp modSp new del mod">
        <pc:chgData name="Steven, Jangam" userId="1cfe9b93-8c7a-4701-b915-6abed17f40f0" providerId="ADAL" clId="{B5E25F73-A12B-414B-B6A0-12F00C0D0A3F}" dt="2024-06-14T08:59:02.036" v="448" actId="2696"/>
        <pc:sldMkLst>
          <pc:docMk/>
          <pc:sldMk cId="3048373395" sldId="765"/>
        </pc:sldMkLst>
        <pc:spChg chg="del">
          <ac:chgData name="Steven, Jangam" userId="1cfe9b93-8c7a-4701-b915-6abed17f40f0" providerId="ADAL" clId="{B5E25F73-A12B-414B-B6A0-12F00C0D0A3F}" dt="2024-06-14T08:57:44.331" v="438" actId="478"/>
          <ac:spMkLst>
            <pc:docMk/>
            <pc:sldMk cId="3048373395" sldId="765"/>
            <ac:spMk id="2" creationId="{CF5EF6D4-3E55-7023-9216-24016C165F80}"/>
          </ac:spMkLst>
        </pc:spChg>
        <pc:spChg chg="del">
          <ac:chgData name="Steven, Jangam" userId="1cfe9b93-8c7a-4701-b915-6abed17f40f0" providerId="ADAL" clId="{B5E25F73-A12B-414B-B6A0-12F00C0D0A3F}" dt="2024-06-14T08:57:47.813" v="439" actId="478"/>
          <ac:spMkLst>
            <pc:docMk/>
            <pc:sldMk cId="3048373395" sldId="765"/>
            <ac:spMk id="3" creationId="{7AA12517-BDA9-5938-2199-3720EA9DA450}"/>
          </ac:spMkLst>
        </pc:spChg>
        <pc:picChg chg="add mod">
          <ac:chgData name="Steven, Jangam" userId="1cfe9b93-8c7a-4701-b915-6abed17f40f0" providerId="ADAL" clId="{B5E25F73-A12B-414B-B6A0-12F00C0D0A3F}" dt="2024-06-14T08:58:27.526" v="441" actId="1076"/>
          <ac:picMkLst>
            <pc:docMk/>
            <pc:sldMk cId="3048373395" sldId="765"/>
            <ac:picMk id="4" creationId="{C7C935F3-41B6-83EC-3C8A-E95E7C567CCA}"/>
          </ac:picMkLst>
        </pc:picChg>
      </pc:sldChg>
      <pc:sldChg chg="addSp modSp add mod">
        <pc:chgData name="Steven, Jangam" userId="1cfe9b93-8c7a-4701-b915-6abed17f40f0" providerId="ADAL" clId="{B5E25F73-A12B-414B-B6A0-12F00C0D0A3F}" dt="2024-06-14T09:01:04.934" v="457"/>
        <pc:sldMkLst>
          <pc:docMk/>
          <pc:sldMk cId="2657072196" sldId="766"/>
        </pc:sldMkLst>
        <pc:spChg chg="mod">
          <ac:chgData name="Steven, Jangam" userId="1cfe9b93-8c7a-4701-b915-6abed17f40f0" providerId="ADAL" clId="{B5E25F73-A12B-414B-B6A0-12F00C0D0A3F}" dt="2024-06-14T09:01:04.934" v="457"/>
          <ac:spMkLst>
            <pc:docMk/>
            <pc:sldMk cId="2657072196" sldId="766"/>
            <ac:spMk id="2" creationId="{CEB336D1-9F97-4093-AB23-68674EE09C18}"/>
          </ac:spMkLst>
        </pc:spChg>
        <pc:spChg chg="mod">
          <ac:chgData name="Steven, Jangam" userId="1cfe9b93-8c7a-4701-b915-6abed17f40f0" providerId="ADAL" clId="{B5E25F73-A12B-414B-B6A0-12F00C0D0A3F}" dt="2024-06-14T09:01:02.986" v="455"/>
          <ac:spMkLst>
            <pc:docMk/>
            <pc:sldMk cId="2657072196" sldId="766"/>
            <ac:spMk id="6" creationId="{FC63CB46-F540-2278-BD64-F4759A620AB9}"/>
          </ac:spMkLst>
        </pc:spChg>
        <pc:spChg chg="mod">
          <ac:chgData name="Steven, Jangam" userId="1cfe9b93-8c7a-4701-b915-6abed17f40f0" providerId="ADAL" clId="{B5E25F73-A12B-414B-B6A0-12F00C0D0A3F}" dt="2024-06-14T09:01:02.009" v="454"/>
          <ac:spMkLst>
            <pc:docMk/>
            <pc:sldMk cId="2657072196" sldId="766"/>
            <ac:spMk id="8" creationId="{F0D431EA-FDCA-9FD4-0C1A-ABAFB94EF347}"/>
          </ac:spMkLst>
        </pc:spChg>
        <pc:picChg chg="add mod">
          <ac:chgData name="Steven, Jangam" userId="1cfe9b93-8c7a-4701-b915-6abed17f40f0" providerId="ADAL" clId="{B5E25F73-A12B-414B-B6A0-12F00C0D0A3F}" dt="2024-06-14T09:00:57.668" v="453"/>
          <ac:picMkLst>
            <pc:docMk/>
            <pc:sldMk cId="2657072196" sldId="766"/>
            <ac:picMk id="3" creationId="{670B85A7-4C2E-D8EC-DDFF-FB41C27655E1}"/>
          </ac:picMkLst>
        </pc:picChg>
      </pc:sldChg>
    </pc:docChg>
  </pc:docChgLst>
  <pc:docChgLst>
    <pc:chgData name="Steven, Jangam" userId="1cfe9b93-8c7a-4701-b915-6abed17f40f0" providerId="ADAL" clId="{37639016-EC45-452F-991D-DE119FC7347F}"/>
    <pc:docChg chg="addSld delSld modSld modSection">
      <pc:chgData name="Steven, Jangam" userId="1cfe9b93-8c7a-4701-b915-6abed17f40f0" providerId="ADAL" clId="{37639016-EC45-452F-991D-DE119FC7347F}" dt="2024-06-18T07:24:47.360" v="22" actId="962"/>
      <pc:docMkLst>
        <pc:docMk/>
      </pc:docMkLst>
      <pc:sldChg chg="addSp modSp mod">
        <pc:chgData name="Steven, Jangam" userId="1cfe9b93-8c7a-4701-b915-6abed17f40f0" providerId="ADAL" clId="{37639016-EC45-452F-991D-DE119FC7347F}" dt="2024-06-18T07:24:35.641" v="21" actId="962"/>
        <pc:sldMkLst>
          <pc:docMk/>
          <pc:sldMk cId="3143534610" sldId="761"/>
        </pc:sldMkLst>
        <pc:spChg chg="mod">
          <ac:chgData name="Steven, Jangam" userId="1cfe9b93-8c7a-4701-b915-6abed17f40f0" providerId="ADAL" clId="{37639016-EC45-452F-991D-DE119FC7347F}" dt="2024-06-18T07:24:00.708" v="18" actId="1076"/>
          <ac:spMkLst>
            <pc:docMk/>
            <pc:sldMk cId="3143534610" sldId="761"/>
            <ac:spMk id="6" creationId="{FC63CB46-F540-2278-BD64-F4759A620AB9}"/>
          </ac:spMkLst>
        </pc:spChg>
        <pc:picChg chg="add mod">
          <ac:chgData name="Steven, Jangam" userId="1cfe9b93-8c7a-4701-b915-6abed17f40f0" providerId="ADAL" clId="{37639016-EC45-452F-991D-DE119FC7347F}" dt="2024-06-18T07:24:35.641" v="21" actId="962"/>
          <ac:picMkLst>
            <pc:docMk/>
            <pc:sldMk cId="3143534610" sldId="761"/>
            <ac:picMk id="5" creationId="{DEC2AB7E-BE02-47E1-B433-FFD14D42B2BE}"/>
          </ac:picMkLst>
        </pc:picChg>
      </pc:sldChg>
      <pc:sldChg chg="addSp modSp del mod">
        <pc:chgData name="Steven, Jangam" userId="1cfe9b93-8c7a-4701-b915-6abed17f40f0" providerId="ADAL" clId="{37639016-EC45-452F-991D-DE119FC7347F}" dt="2024-06-18T07:24:04.778" v="19" actId="2696"/>
        <pc:sldMkLst>
          <pc:docMk/>
          <pc:sldMk cId="2294668998" sldId="763"/>
        </pc:sldMkLst>
        <pc:spChg chg="mod">
          <ac:chgData name="Steven, Jangam" userId="1cfe9b93-8c7a-4701-b915-6abed17f40f0" providerId="ADAL" clId="{37639016-EC45-452F-991D-DE119FC7347F}" dt="2024-06-18T07:22:30.768" v="3" actId="1076"/>
          <ac:spMkLst>
            <pc:docMk/>
            <pc:sldMk cId="2294668998" sldId="763"/>
            <ac:spMk id="6" creationId="{FC63CB46-F540-2278-BD64-F4759A620AB9}"/>
          </ac:spMkLst>
        </pc:spChg>
        <pc:picChg chg="add mod">
          <ac:chgData name="Steven, Jangam" userId="1cfe9b93-8c7a-4701-b915-6abed17f40f0" providerId="ADAL" clId="{37639016-EC45-452F-991D-DE119FC7347F}" dt="2024-06-18T07:23:45.634" v="17" actId="14100"/>
          <ac:picMkLst>
            <pc:docMk/>
            <pc:sldMk cId="2294668998" sldId="763"/>
            <ac:picMk id="5" creationId="{BE3C32C0-D000-0CF1-7E48-5EE225F5F63C}"/>
          </ac:picMkLst>
        </pc:picChg>
      </pc:sldChg>
      <pc:sldChg chg="modSp add">
        <pc:chgData name="Steven, Jangam" userId="1cfe9b93-8c7a-4701-b915-6abed17f40f0" providerId="ADAL" clId="{37639016-EC45-452F-991D-DE119FC7347F}" dt="2024-06-18T07:24:47.360" v="22" actId="962"/>
        <pc:sldMkLst>
          <pc:docMk/>
          <pc:sldMk cId="1548106084" sldId="767"/>
        </pc:sldMkLst>
        <pc:picChg chg="mod">
          <ac:chgData name="Steven, Jangam" userId="1cfe9b93-8c7a-4701-b915-6abed17f40f0" providerId="ADAL" clId="{37639016-EC45-452F-991D-DE119FC7347F}" dt="2024-06-18T07:24:47.360" v="22" actId="962"/>
          <ac:picMkLst>
            <pc:docMk/>
            <pc:sldMk cId="1548106084" sldId="767"/>
            <ac:picMk id="5" creationId="{DEC2AB7E-BE02-47E1-B433-FFD14D42B2BE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AED1D4-0C97-41AD-86FB-6388789F2A2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FCFF5D-0936-4188-901C-A6A1D37C363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ECBF1-C2AE-41BB-8D7A-4351047AC329}" type="datetimeFigureOut">
              <a:rPr lang="en-US"/>
              <a:t>6/1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6EBDBD-22EE-45B0-B4B5-64B099CA924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Copyright © 2024 Genpact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354CBD-03AA-4438-AEC9-2184FF96C5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B055AC-4DA3-474A-B815-4FBDE987A1DD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525604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3A4B2-9324-4589-B14C-236B127BAAA0}" type="datetimeFigureOut">
              <a:rPr lang="en-US"/>
              <a:t>6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Copyright © 2024 Genpact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C9F161-07A6-48A8-844D-651C99E29A47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5820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/>
              <a:t>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DC228E-56C4-939F-9695-5E2F9321674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Copyright © 2024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230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/>
              <a:t>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6B0BDC-3315-D8EA-7A76-FDFD309E9CB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Copyright © 2024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4307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5.sv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2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5.sv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2.sv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11">
            <a:extLst>
              <a:ext uri="{FF2B5EF4-FFF2-40B4-BE49-F238E27FC236}">
                <a16:creationId xmlns:a16="http://schemas.microsoft.com/office/drawing/2014/main" id="{4B294335-052E-3C6E-F44A-18E60E6575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307" y="595444"/>
            <a:ext cx="2561237" cy="1157186"/>
          </a:xfrm>
          <a:prstGeom prst="rect">
            <a:avLst/>
          </a:prstGeom>
        </p:spPr>
      </p:pic>
      <p:sp>
        <p:nvSpPr>
          <p:cNvPr id="8" name="Title 22">
            <a:extLst>
              <a:ext uri="{FF2B5EF4-FFF2-40B4-BE49-F238E27FC236}">
                <a16:creationId xmlns:a16="http://schemas.microsoft.com/office/drawing/2014/main" id="{96BC758F-A88D-58D2-96CB-352E927DBF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/>
          <a:p>
            <a:r>
              <a:rPr lang="en-US"/>
              <a:t>Title of the deck</a:t>
            </a:r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2F7BC8D-E482-7C2E-9015-FBDE8C89E73F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82936A3-14D5-D2A4-DF3B-9F454FA10260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A670EED-96DA-1780-BDA5-15CC710E7CF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83125DD-D47C-8EFA-DAA9-9985503689B7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ADD13B-602C-AF10-56DC-FAEFB9BEAFB3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4">
            <a:extLst>
              <a:ext uri="{FF2B5EF4-FFF2-40B4-BE49-F238E27FC236}">
                <a16:creationId xmlns:a16="http://schemas.microsoft.com/office/drawing/2014/main" id="{762108C1-4A46-AB99-985E-1E642BE018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7D3A8C12-F3B2-773B-D033-A6B841B8F3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Date</a:t>
            </a:r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A9E8D036-4550-4413-5254-3C1257E27F9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8228" y="-1"/>
            <a:ext cx="5733771" cy="689049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4853941"/>
              <a:gd name="connsiteX1" fmla="*/ 4584946 w 4601895"/>
              <a:gd name="connsiteY1" fmla="*/ 0 h 4853941"/>
              <a:gd name="connsiteX2" fmla="*/ 4601895 w 4601895"/>
              <a:gd name="connsiteY2" fmla="*/ 1372945 h 4853941"/>
              <a:gd name="connsiteX3" fmla="*/ 4601895 w 4601895"/>
              <a:gd name="connsiteY3" fmla="*/ 4853941 h 4853941"/>
              <a:gd name="connsiteX4" fmla="*/ 0 w 4601895"/>
              <a:gd name="connsiteY4" fmla="*/ 4850289 h 4853941"/>
              <a:gd name="connsiteX5" fmla="*/ 22979 w 4601895"/>
              <a:gd name="connsiteY5" fmla="*/ 0 h 4853941"/>
              <a:gd name="connsiteX0" fmla="*/ 8142 w 4587058"/>
              <a:gd name="connsiteY0" fmla="*/ 0 h 4856795"/>
              <a:gd name="connsiteX1" fmla="*/ 4570109 w 4587058"/>
              <a:gd name="connsiteY1" fmla="*/ 0 h 4856795"/>
              <a:gd name="connsiteX2" fmla="*/ 4587058 w 4587058"/>
              <a:gd name="connsiteY2" fmla="*/ 1372945 h 4856795"/>
              <a:gd name="connsiteX3" fmla="*/ 4587058 w 4587058"/>
              <a:gd name="connsiteY3" fmla="*/ 4853941 h 4856795"/>
              <a:gd name="connsiteX4" fmla="*/ 0 w 4587058"/>
              <a:gd name="connsiteY4" fmla="*/ 4856795 h 4856795"/>
              <a:gd name="connsiteX5" fmla="*/ 8142 w 4587058"/>
              <a:gd name="connsiteY5" fmla="*/ 0 h 4856795"/>
              <a:gd name="connsiteX0" fmla="*/ 0 w 4578916"/>
              <a:gd name="connsiteY0" fmla="*/ 0 h 4856795"/>
              <a:gd name="connsiteX1" fmla="*/ 4561967 w 4578916"/>
              <a:gd name="connsiteY1" fmla="*/ 0 h 4856795"/>
              <a:gd name="connsiteX2" fmla="*/ 4578916 w 4578916"/>
              <a:gd name="connsiteY2" fmla="*/ 1372945 h 4856795"/>
              <a:gd name="connsiteX3" fmla="*/ 4578916 w 4578916"/>
              <a:gd name="connsiteY3" fmla="*/ 4853941 h 4856795"/>
              <a:gd name="connsiteX4" fmla="*/ 36368 w 4578916"/>
              <a:gd name="connsiteY4" fmla="*/ 4856795 h 4856795"/>
              <a:gd name="connsiteX5" fmla="*/ 0 w 4578916"/>
              <a:gd name="connsiteY5" fmla="*/ 0 h 4856795"/>
              <a:gd name="connsiteX0" fmla="*/ 0 w 4578916"/>
              <a:gd name="connsiteY0" fmla="*/ 0 h 4853941"/>
              <a:gd name="connsiteX1" fmla="*/ 4561967 w 4578916"/>
              <a:gd name="connsiteY1" fmla="*/ 0 h 4853941"/>
              <a:gd name="connsiteX2" fmla="*/ 4578916 w 4578916"/>
              <a:gd name="connsiteY2" fmla="*/ 1372945 h 4853941"/>
              <a:gd name="connsiteX3" fmla="*/ 4578916 w 4578916"/>
              <a:gd name="connsiteY3" fmla="*/ 4853941 h 4853941"/>
              <a:gd name="connsiteX4" fmla="*/ 14113 w 4578916"/>
              <a:gd name="connsiteY4" fmla="*/ 4837276 h 4853941"/>
              <a:gd name="connsiteX5" fmla="*/ 0 w 4578916"/>
              <a:gd name="connsiteY5" fmla="*/ 0 h 4853941"/>
              <a:gd name="connsiteX0" fmla="*/ 0 w 4578916"/>
              <a:gd name="connsiteY0" fmla="*/ 13013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3013 h 4866954"/>
              <a:gd name="connsiteX0" fmla="*/ 0 w 4571497"/>
              <a:gd name="connsiteY0" fmla="*/ 1971458 h 4866954"/>
              <a:gd name="connsiteX1" fmla="*/ 2909800 w 4571497"/>
              <a:gd name="connsiteY1" fmla="*/ 0 h 4866954"/>
              <a:gd name="connsiteX2" fmla="*/ 4554548 w 4571497"/>
              <a:gd name="connsiteY2" fmla="*/ 13013 h 4866954"/>
              <a:gd name="connsiteX3" fmla="*/ 4571497 w 4571497"/>
              <a:gd name="connsiteY3" fmla="*/ 1385958 h 4866954"/>
              <a:gd name="connsiteX4" fmla="*/ 4571497 w 4571497"/>
              <a:gd name="connsiteY4" fmla="*/ 4866954 h 4866954"/>
              <a:gd name="connsiteX5" fmla="*/ 6694 w 4571497"/>
              <a:gd name="connsiteY5" fmla="*/ 4850289 h 4866954"/>
              <a:gd name="connsiteX6" fmla="*/ 0 w 4571497"/>
              <a:gd name="connsiteY6" fmla="*/ 1971458 h 4866954"/>
              <a:gd name="connsiteX0" fmla="*/ 0 w 4578916"/>
              <a:gd name="connsiteY0" fmla="*/ 1951939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951939 h 4866954"/>
              <a:gd name="connsiteX0" fmla="*/ 0 w 4578916"/>
              <a:gd name="connsiteY0" fmla="*/ 1964951 h 4879966"/>
              <a:gd name="connsiteX1" fmla="*/ 3221369 w 4578916"/>
              <a:gd name="connsiteY1" fmla="*/ 0 h 4879966"/>
              <a:gd name="connsiteX2" fmla="*/ 4561967 w 4578916"/>
              <a:gd name="connsiteY2" fmla="*/ 26025 h 4879966"/>
              <a:gd name="connsiteX3" fmla="*/ 4578916 w 4578916"/>
              <a:gd name="connsiteY3" fmla="*/ 1398970 h 4879966"/>
              <a:gd name="connsiteX4" fmla="*/ 4578916 w 4578916"/>
              <a:gd name="connsiteY4" fmla="*/ 4879966 h 4879966"/>
              <a:gd name="connsiteX5" fmla="*/ 14113 w 4578916"/>
              <a:gd name="connsiteY5" fmla="*/ 4863301 h 4879966"/>
              <a:gd name="connsiteX6" fmla="*/ 0 w 4578916"/>
              <a:gd name="connsiteY6" fmla="*/ 1964951 h 4879966"/>
              <a:gd name="connsiteX0" fmla="*/ 0 w 4578916"/>
              <a:gd name="connsiteY0" fmla="*/ 1938926 h 4853941"/>
              <a:gd name="connsiteX1" fmla="*/ 3206532 w 4578916"/>
              <a:gd name="connsiteY1" fmla="*/ 19520 h 4853941"/>
              <a:gd name="connsiteX2" fmla="*/ 4561967 w 4578916"/>
              <a:gd name="connsiteY2" fmla="*/ 0 h 4853941"/>
              <a:gd name="connsiteX3" fmla="*/ 4578916 w 4578916"/>
              <a:gd name="connsiteY3" fmla="*/ 1372945 h 4853941"/>
              <a:gd name="connsiteX4" fmla="*/ 4578916 w 4578916"/>
              <a:gd name="connsiteY4" fmla="*/ 4853941 h 4853941"/>
              <a:gd name="connsiteX5" fmla="*/ 14113 w 4578916"/>
              <a:gd name="connsiteY5" fmla="*/ 4837276 h 4853941"/>
              <a:gd name="connsiteX6" fmla="*/ 0 w 4578916"/>
              <a:gd name="connsiteY6" fmla="*/ 1938926 h 4853941"/>
              <a:gd name="connsiteX0" fmla="*/ 0 w 4578916"/>
              <a:gd name="connsiteY0" fmla="*/ 1958445 h 4873460"/>
              <a:gd name="connsiteX1" fmla="*/ 3213951 w 4578916"/>
              <a:gd name="connsiteY1" fmla="*/ 0 h 4873460"/>
              <a:gd name="connsiteX2" fmla="*/ 4561967 w 4578916"/>
              <a:gd name="connsiteY2" fmla="*/ 19519 h 4873460"/>
              <a:gd name="connsiteX3" fmla="*/ 4578916 w 4578916"/>
              <a:gd name="connsiteY3" fmla="*/ 1392464 h 4873460"/>
              <a:gd name="connsiteX4" fmla="*/ 4578916 w 4578916"/>
              <a:gd name="connsiteY4" fmla="*/ 4873460 h 4873460"/>
              <a:gd name="connsiteX5" fmla="*/ 14113 w 4578916"/>
              <a:gd name="connsiteY5" fmla="*/ 4856795 h 4873460"/>
              <a:gd name="connsiteX6" fmla="*/ 0 w 4578916"/>
              <a:gd name="connsiteY6" fmla="*/ 1958445 h 4873460"/>
              <a:gd name="connsiteX0" fmla="*/ 0 w 4605145"/>
              <a:gd name="connsiteY0" fmla="*/ 639492 h 4873460"/>
              <a:gd name="connsiteX1" fmla="*/ 3240180 w 4605145"/>
              <a:gd name="connsiteY1" fmla="*/ 0 h 4873460"/>
              <a:gd name="connsiteX2" fmla="*/ 4588196 w 4605145"/>
              <a:gd name="connsiteY2" fmla="*/ 19519 h 4873460"/>
              <a:gd name="connsiteX3" fmla="*/ 4605145 w 4605145"/>
              <a:gd name="connsiteY3" fmla="*/ 1392464 h 4873460"/>
              <a:gd name="connsiteX4" fmla="*/ 4605145 w 4605145"/>
              <a:gd name="connsiteY4" fmla="*/ 4873460 h 4873460"/>
              <a:gd name="connsiteX5" fmla="*/ 40342 w 4605145"/>
              <a:gd name="connsiteY5" fmla="*/ 4856795 h 4873460"/>
              <a:gd name="connsiteX6" fmla="*/ 0 w 4605145"/>
              <a:gd name="connsiteY6" fmla="*/ 639492 h 4873460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40342 w 4605145"/>
              <a:gd name="connsiteY5" fmla="*/ 4837276 h 4853941"/>
              <a:gd name="connsiteX6" fmla="*/ 0 w 4605145"/>
              <a:gd name="connsiteY6" fmla="*/ 619973 h 4853941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5371 w 4605145"/>
              <a:gd name="connsiteY5" fmla="*/ 4837276 h 4853941"/>
              <a:gd name="connsiteX6" fmla="*/ 0 w 4605145"/>
              <a:gd name="connsiteY6" fmla="*/ 619973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05145" h="4853941">
                <a:moveTo>
                  <a:pt x="0" y="619973"/>
                </a:moveTo>
                <a:lnTo>
                  <a:pt x="1028204" y="3486"/>
                </a:lnTo>
                <a:lnTo>
                  <a:pt x="4588196" y="0"/>
                </a:lnTo>
                <a:lnTo>
                  <a:pt x="4605145" y="1372945"/>
                </a:lnTo>
                <a:lnTo>
                  <a:pt x="4605145" y="4853941"/>
                </a:lnTo>
                <a:lnTo>
                  <a:pt x="5371" y="4837276"/>
                </a:lnTo>
                <a:cubicBezTo>
                  <a:pt x="667" y="3224851"/>
                  <a:pt x="4704" y="2232398"/>
                  <a:pt x="0" y="61997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2678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78FC0F-4CA5-0DDB-69CF-C9FE0EE2AFC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083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rgbClr val="0115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FCF249-3DAD-8008-A4D4-7B69D2DCD00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917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0B949801-D1CB-4FAA-AA6A-7CA71D329D2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2249827"/>
            <a:ext cx="11303999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31D48B-AA63-3CC4-3FB9-2479D0E96CE9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026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225A138-8D03-4E68-8998-611A6F18F6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22AE0D8-7C24-9F82-8A9C-94995848A5A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283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1773238"/>
            <a:ext cx="11303999" cy="4357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19FF0A-21A1-CEA8-DD06-98A187900E5B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911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FFC3F-8A83-4C4D-A0C9-08E98B5913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04B264-1B16-6FE1-B4C0-EB6F89E6CD6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476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1B8574-8359-B025-1EAB-C47C87FE638B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536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 userDrawn="1">
          <p15:clr>
            <a:srgbClr val="FBAE40"/>
          </p15:clr>
        </p15:guide>
        <p15:guide id="3" pos="397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1E206D-3996-631C-E339-E1803AC7050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996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8C428E9-558D-E35C-EB68-726DAD018AA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564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4470819-64D7-CAB4-2A1E-060651F60C2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958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11">
            <a:extLst>
              <a:ext uri="{FF2B5EF4-FFF2-40B4-BE49-F238E27FC236}">
                <a16:creationId xmlns:a16="http://schemas.microsoft.com/office/drawing/2014/main" id="{4B294335-052E-3C6E-F44A-18E60E6575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307" y="595444"/>
            <a:ext cx="2561237" cy="1157186"/>
          </a:xfrm>
          <a:prstGeom prst="rect">
            <a:avLst/>
          </a:prstGeom>
        </p:spPr>
      </p:pic>
      <p:sp>
        <p:nvSpPr>
          <p:cNvPr id="8" name="Title 22">
            <a:extLst>
              <a:ext uri="{FF2B5EF4-FFF2-40B4-BE49-F238E27FC236}">
                <a16:creationId xmlns:a16="http://schemas.microsoft.com/office/drawing/2014/main" id="{96BC758F-A88D-58D2-96CB-352E927DBF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/>
          <a:p>
            <a:r>
              <a:rPr lang="en-US"/>
              <a:t>Title of the deck</a:t>
            </a:r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2F7BC8D-E482-7C2E-9015-FBDE8C89E73F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82936A3-14D5-D2A4-DF3B-9F454FA10260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A670EED-96DA-1780-BDA5-15CC710E7CF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83125DD-D47C-8EFA-DAA9-9985503689B7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ADD13B-602C-AF10-56DC-FAEFB9BEAFB3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4">
            <a:extLst>
              <a:ext uri="{FF2B5EF4-FFF2-40B4-BE49-F238E27FC236}">
                <a16:creationId xmlns:a16="http://schemas.microsoft.com/office/drawing/2014/main" id="{762108C1-4A46-AB99-985E-1E642BE018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7D3A8C12-F3B2-773B-D033-A6B841B8F3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Date</a:t>
            </a:r>
          </a:p>
        </p:txBody>
      </p:sp>
      <p:sp>
        <p:nvSpPr>
          <p:cNvPr id="7" name="Picture Placeholder 26">
            <a:extLst>
              <a:ext uri="{FF2B5EF4-FFF2-40B4-BE49-F238E27FC236}">
                <a16:creationId xmlns:a16="http://schemas.microsoft.com/office/drawing/2014/main" id="{F9989903-EF6E-F26B-BA54-CB44CA4CBD4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47240" y="446187"/>
            <a:ext cx="4384436" cy="5965626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5254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0E0814-E768-7972-04C6-26CE66C2A52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033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31ADDE8-2641-3FF4-0CA3-4F7F75FF90B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882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32548D-372D-9742-694B-79C22230ECA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489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EDC23DA-4913-ACB0-2498-6567ACD30A8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224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8EA5EE-3930-5E91-92C5-EA6A8B40029E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7100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494F88C-146C-0D86-3D5E-3126A65EC9F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122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lang="en-US" sz="12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44BE72-3BBE-F9BE-DC71-BED1BC5B501D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559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EA17E5-C6DB-5F79-4714-1C4805DD278B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138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011305-779F-CF7B-7591-1AB07953604A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504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2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3371496-DAB3-D6FD-D6F9-CD540566C1A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215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11">
            <a:extLst>
              <a:ext uri="{FF2B5EF4-FFF2-40B4-BE49-F238E27FC236}">
                <a16:creationId xmlns:a16="http://schemas.microsoft.com/office/drawing/2014/main" id="{4B294335-052E-3C6E-F44A-18E60E6575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307" y="595444"/>
            <a:ext cx="2561237" cy="1157186"/>
          </a:xfrm>
          <a:prstGeom prst="rect">
            <a:avLst/>
          </a:prstGeom>
        </p:spPr>
      </p:pic>
      <p:sp>
        <p:nvSpPr>
          <p:cNvPr id="8" name="Title 22">
            <a:extLst>
              <a:ext uri="{FF2B5EF4-FFF2-40B4-BE49-F238E27FC236}">
                <a16:creationId xmlns:a16="http://schemas.microsoft.com/office/drawing/2014/main" id="{96BC758F-A88D-58D2-96CB-352E927DBF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/>
          <a:p>
            <a:r>
              <a:rPr lang="en-US"/>
              <a:t>Title of the deck</a:t>
            </a:r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2F7BC8D-E482-7C2E-9015-FBDE8C89E73F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82936A3-14D5-D2A4-DF3B-9F454FA10260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A670EED-96DA-1780-BDA5-15CC710E7CF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83125DD-D47C-8EFA-DAA9-9985503689B7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ADD13B-602C-AF10-56DC-FAEFB9BEAFB3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4">
            <a:extLst>
              <a:ext uri="{FF2B5EF4-FFF2-40B4-BE49-F238E27FC236}">
                <a16:creationId xmlns:a16="http://schemas.microsoft.com/office/drawing/2014/main" id="{762108C1-4A46-AB99-985E-1E642BE018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7D3A8C12-F3B2-773B-D033-A6B841B8F3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Date</a:t>
            </a:r>
          </a:p>
        </p:txBody>
      </p:sp>
      <p:sp>
        <p:nvSpPr>
          <p:cNvPr id="9" name="Picture Placeholder 28">
            <a:extLst>
              <a:ext uri="{FF2B5EF4-FFF2-40B4-BE49-F238E27FC236}">
                <a16:creationId xmlns:a16="http://schemas.microsoft.com/office/drawing/2014/main" id="{B8F46EEA-82D3-26C5-0C27-F18EA889DA9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4594" y="1"/>
            <a:ext cx="5758131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43615" h="4853941">
                <a:moveTo>
                  <a:pt x="1616" y="1905"/>
                </a:moveTo>
                <a:lnTo>
                  <a:pt x="4626666" y="0"/>
                </a:lnTo>
                <a:lnTo>
                  <a:pt x="4643615" y="1372945"/>
                </a:lnTo>
                <a:lnTo>
                  <a:pt x="4643615" y="4853941"/>
                </a:lnTo>
                <a:lnTo>
                  <a:pt x="780445" y="4840809"/>
                </a:lnTo>
                <a:cubicBezTo>
                  <a:pt x="53027" y="4396676"/>
                  <a:pt x="1092031" y="5005335"/>
                  <a:pt x="0" y="4374208"/>
                </a:cubicBezTo>
                <a:cubicBezTo>
                  <a:pt x="539" y="2916774"/>
                  <a:pt x="1077" y="1459339"/>
                  <a:pt x="161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0453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35E61A-B980-6242-0988-F681A8C95DDA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301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4E0DD0-6902-6F7B-26C1-967791DD06C2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753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1011" y="1617885"/>
            <a:ext cx="1224430" cy="129831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DBBBEE3-9EB3-09AD-924C-7BFC61F0C7BB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492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3533BD-D399-BB9B-5EED-BA71F624E63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4481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BDFDB3-ABC0-F6F3-E001-98E4726A4322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482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BF5D0A8-B18E-6618-FA55-5468EE19D221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523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00AEC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10548C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FF555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3DA71B-D98C-9AF6-7C5E-F38645C18762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547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7642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7673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7484E3-76CF-C340-2A6E-524E63A89020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2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w/ Ic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09B9F4C-9DEC-4C04-B351-C0AF80F0C2A2}"/>
              </a:ext>
            </a:extLst>
          </p:cNvPr>
          <p:cNvSpPr/>
          <p:nvPr userDrawn="1"/>
        </p:nvSpPr>
        <p:spPr>
          <a:xfrm>
            <a:off x="5348713" y="369031"/>
            <a:ext cx="377904" cy="521508"/>
          </a:xfrm>
          <a:custGeom>
            <a:avLst/>
            <a:gdLst>
              <a:gd name="connsiteX0" fmla="*/ 0 w 1600010"/>
              <a:gd name="connsiteY0" fmla="*/ 564484 h 2208014"/>
              <a:gd name="connsiteX1" fmla="*/ 801499 w 1600010"/>
              <a:gd name="connsiteY1" fmla="*/ 0 h 2208014"/>
              <a:gd name="connsiteX2" fmla="*/ 1600650 w 1600010"/>
              <a:gd name="connsiteY2" fmla="*/ 564484 h 2208014"/>
              <a:gd name="connsiteX3" fmla="*/ 1600650 w 1600010"/>
              <a:gd name="connsiteY3" fmla="*/ 1673611 h 2208014"/>
              <a:gd name="connsiteX4" fmla="*/ 800325 w 1600010"/>
              <a:gd name="connsiteY4" fmla="*/ 2218361 h 2208014"/>
              <a:gd name="connsiteX5" fmla="*/ 0 w 1600010"/>
              <a:gd name="connsiteY5" fmla="*/ 1666998 h 2208014"/>
              <a:gd name="connsiteX6" fmla="*/ 0 w 1600010"/>
              <a:gd name="connsiteY6" fmla="*/ 564484 h 2208014"/>
              <a:gd name="connsiteX7" fmla="*/ 0 w 1600010"/>
              <a:gd name="connsiteY7" fmla="*/ 564484 h 220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00010" h="2208014">
                <a:moveTo>
                  <a:pt x="0" y="564484"/>
                </a:moveTo>
                <a:lnTo>
                  <a:pt x="801499" y="0"/>
                </a:lnTo>
                <a:lnTo>
                  <a:pt x="1600650" y="564484"/>
                </a:lnTo>
                <a:lnTo>
                  <a:pt x="1600650" y="1673611"/>
                </a:lnTo>
                <a:lnTo>
                  <a:pt x="800325" y="2218361"/>
                </a:lnTo>
                <a:lnTo>
                  <a:pt x="0" y="1666998"/>
                </a:lnTo>
                <a:lnTo>
                  <a:pt x="0" y="564484"/>
                </a:lnTo>
                <a:lnTo>
                  <a:pt x="0" y="56448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1F1A1A7D-1BE7-41E8-AC2D-AE6B08947B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04315" y="477385"/>
            <a:ext cx="266700" cy="3048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FE5AF5-00A8-BE5B-8CE9-853115823AD8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118D1F-005B-2547-C8CE-C0016FDA9659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634F851-0595-9563-AC58-A652AEB0ABF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3772E49-1AA6-41E0-49C2-79AA9CCAC00E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253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2706DB-BEEF-B1CF-8967-83A5ECA6E56B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A3A904-AE3E-E848-039A-19001AAE5226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7C03EAB-29B0-17FA-AC7C-F7B64B2FDD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D468BFF-F78D-3BCD-95D5-3631E162EE9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7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0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11">
            <a:extLst>
              <a:ext uri="{FF2B5EF4-FFF2-40B4-BE49-F238E27FC236}">
                <a16:creationId xmlns:a16="http://schemas.microsoft.com/office/drawing/2014/main" id="{4B294335-052E-3C6E-F44A-18E60E6575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307" y="595444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A2F7BC8D-E482-7C2E-9015-FBDE8C89E73F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82936A3-14D5-D2A4-DF3B-9F454FA10260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A670EED-96DA-1780-BDA5-15CC710E7CF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83125DD-D47C-8EFA-DAA9-9985503689B7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9" name="Title 22">
            <a:extLst>
              <a:ext uri="{FF2B5EF4-FFF2-40B4-BE49-F238E27FC236}">
                <a16:creationId xmlns:a16="http://schemas.microsoft.com/office/drawing/2014/main" id="{CF1BD446-200F-129D-DE8F-BDC1EB1835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/>
          <a:p>
            <a:r>
              <a:rPr lang="en-US"/>
              <a:t>Title of the deck</a:t>
            </a:r>
            <a:endParaRPr lang="en-IN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9634880-EF13-3C57-2076-FF80EA39C831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4">
            <a:extLst>
              <a:ext uri="{FF2B5EF4-FFF2-40B4-BE49-F238E27FC236}">
                <a16:creationId xmlns:a16="http://schemas.microsoft.com/office/drawing/2014/main" id="{23EF19B0-48BC-F8B0-BE42-2B00695D84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181DB1F1-2E4F-97DF-3ADE-FA00FB50CA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364486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153" y="2122014"/>
            <a:ext cx="4180115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2" name="Graphic 11">
            <a:extLst>
              <a:ext uri="{FF2B5EF4-FFF2-40B4-BE49-F238E27FC236}">
                <a16:creationId xmlns:a16="http://schemas.microsoft.com/office/drawing/2014/main" id="{B1BFDB7E-6B06-3C7C-DDA8-9E0F399FF7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1999" y="4703447"/>
            <a:ext cx="2561237" cy="1157186"/>
          </a:xfrm>
          <a:prstGeom prst="rect">
            <a:avLst/>
          </a:prstGeom>
        </p:spPr>
      </p:pic>
      <p:sp>
        <p:nvSpPr>
          <p:cNvPr id="13" name="Picture Placeholder 26">
            <a:extLst>
              <a:ext uri="{FF2B5EF4-FFF2-40B4-BE49-F238E27FC236}">
                <a16:creationId xmlns:a16="http://schemas.microsoft.com/office/drawing/2014/main" id="{67DA778F-892A-104E-A8C3-E9F9C36316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58728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52A76B-2358-2F09-2ABE-99E760F56EB5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ABF4448-7FD8-8130-E146-B9FDF3FA8D95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217943A-82DC-B453-1305-D12F22DF4BC8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74D68F8-84E9-A5D7-D646-63C05A7F4B73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1897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AE40E17-8B57-6285-3D9E-355006E1FDD0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3D71D0E-E84D-887D-CEF6-3FE3F5BE6280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7EA80FE-242A-89AA-2A39-9D7E616003C6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533499B-2268-F08A-9247-18A96828678A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9" name="Picture Placeholder 28">
            <a:extLst>
              <a:ext uri="{FF2B5EF4-FFF2-40B4-BE49-F238E27FC236}">
                <a16:creationId xmlns:a16="http://schemas.microsoft.com/office/drawing/2014/main" id="{0825A055-2A2D-9631-1B85-704DF1FC6E2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8228" y="-1"/>
            <a:ext cx="5733771" cy="689049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4853941"/>
              <a:gd name="connsiteX1" fmla="*/ 4584946 w 4601895"/>
              <a:gd name="connsiteY1" fmla="*/ 0 h 4853941"/>
              <a:gd name="connsiteX2" fmla="*/ 4601895 w 4601895"/>
              <a:gd name="connsiteY2" fmla="*/ 1372945 h 4853941"/>
              <a:gd name="connsiteX3" fmla="*/ 4601895 w 4601895"/>
              <a:gd name="connsiteY3" fmla="*/ 4853941 h 4853941"/>
              <a:gd name="connsiteX4" fmla="*/ 0 w 4601895"/>
              <a:gd name="connsiteY4" fmla="*/ 4850289 h 4853941"/>
              <a:gd name="connsiteX5" fmla="*/ 22979 w 4601895"/>
              <a:gd name="connsiteY5" fmla="*/ 0 h 4853941"/>
              <a:gd name="connsiteX0" fmla="*/ 8142 w 4587058"/>
              <a:gd name="connsiteY0" fmla="*/ 0 h 4856795"/>
              <a:gd name="connsiteX1" fmla="*/ 4570109 w 4587058"/>
              <a:gd name="connsiteY1" fmla="*/ 0 h 4856795"/>
              <a:gd name="connsiteX2" fmla="*/ 4587058 w 4587058"/>
              <a:gd name="connsiteY2" fmla="*/ 1372945 h 4856795"/>
              <a:gd name="connsiteX3" fmla="*/ 4587058 w 4587058"/>
              <a:gd name="connsiteY3" fmla="*/ 4853941 h 4856795"/>
              <a:gd name="connsiteX4" fmla="*/ 0 w 4587058"/>
              <a:gd name="connsiteY4" fmla="*/ 4856795 h 4856795"/>
              <a:gd name="connsiteX5" fmla="*/ 8142 w 4587058"/>
              <a:gd name="connsiteY5" fmla="*/ 0 h 4856795"/>
              <a:gd name="connsiteX0" fmla="*/ 0 w 4578916"/>
              <a:gd name="connsiteY0" fmla="*/ 0 h 4856795"/>
              <a:gd name="connsiteX1" fmla="*/ 4561967 w 4578916"/>
              <a:gd name="connsiteY1" fmla="*/ 0 h 4856795"/>
              <a:gd name="connsiteX2" fmla="*/ 4578916 w 4578916"/>
              <a:gd name="connsiteY2" fmla="*/ 1372945 h 4856795"/>
              <a:gd name="connsiteX3" fmla="*/ 4578916 w 4578916"/>
              <a:gd name="connsiteY3" fmla="*/ 4853941 h 4856795"/>
              <a:gd name="connsiteX4" fmla="*/ 36368 w 4578916"/>
              <a:gd name="connsiteY4" fmla="*/ 4856795 h 4856795"/>
              <a:gd name="connsiteX5" fmla="*/ 0 w 4578916"/>
              <a:gd name="connsiteY5" fmla="*/ 0 h 4856795"/>
              <a:gd name="connsiteX0" fmla="*/ 0 w 4578916"/>
              <a:gd name="connsiteY0" fmla="*/ 0 h 4853941"/>
              <a:gd name="connsiteX1" fmla="*/ 4561967 w 4578916"/>
              <a:gd name="connsiteY1" fmla="*/ 0 h 4853941"/>
              <a:gd name="connsiteX2" fmla="*/ 4578916 w 4578916"/>
              <a:gd name="connsiteY2" fmla="*/ 1372945 h 4853941"/>
              <a:gd name="connsiteX3" fmla="*/ 4578916 w 4578916"/>
              <a:gd name="connsiteY3" fmla="*/ 4853941 h 4853941"/>
              <a:gd name="connsiteX4" fmla="*/ 14113 w 4578916"/>
              <a:gd name="connsiteY4" fmla="*/ 4837276 h 4853941"/>
              <a:gd name="connsiteX5" fmla="*/ 0 w 4578916"/>
              <a:gd name="connsiteY5" fmla="*/ 0 h 4853941"/>
              <a:gd name="connsiteX0" fmla="*/ 0 w 4578916"/>
              <a:gd name="connsiteY0" fmla="*/ 13013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3013 h 4866954"/>
              <a:gd name="connsiteX0" fmla="*/ 0 w 4571497"/>
              <a:gd name="connsiteY0" fmla="*/ 1971458 h 4866954"/>
              <a:gd name="connsiteX1" fmla="*/ 2909800 w 4571497"/>
              <a:gd name="connsiteY1" fmla="*/ 0 h 4866954"/>
              <a:gd name="connsiteX2" fmla="*/ 4554548 w 4571497"/>
              <a:gd name="connsiteY2" fmla="*/ 13013 h 4866954"/>
              <a:gd name="connsiteX3" fmla="*/ 4571497 w 4571497"/>
              <a:gd name="connsiteY3" fmla="*/ 1385958 h 4866954"/>
              <a:gd name="connsiteX4" fmla="*/ 4571497 w 4571497"/>
              <a:gd name="connsiteY4" fmla="*/ 4866954 h 4866954"/>
              <a:gd name="connsiteX5" fmla="*/ 6694 w 4571497"/>
              <a:gd name="connsiteY5" fmla="*/ 4850289 h 4866954"/>
              <a:gd name="connsiteX6" fmla="*/ 0 w 4571497"/>
              <a:gd name="connsiteY6" fmla="*/ 1971458 h 4866954"/>
              <a:gd name="connsiteX0" fmla="*/ 0 w 4578916"/>
              <a:gd name="connsiteY0" fmla="*/ 1951939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951939 h 4866954"/>
              <a:gd name="connsiteX0" fmla="*/ 0 w 4578916"/>
              <a:gd name="connsiteY0" fmla="*/ 1964951 h 4879966"/>
              <a:gd name="connsiteX1" fmla="*/ 3221369 w 4578916"/>
              <a:gd name="connsiteY1" fmla="*/ 0 h 4879966"/>
              <a:gd name="connsiteX2" fmla="*/ 4561967 w 4578916"/>
              <a:gd name="connsiteY2" fmla="*/ 26025 h 4879966"/>
              <a:gd name="connsiteX3" fmla="*/ 4578916 w 4578916"/>
              <a:gd name="connsiteY3" fmla="*/ 1398970 h 4879966"/>
              <a:gd name="connsiteX4" fmla="*/ 4578916 w 4578916"/>
              <a:gd name="connsiteY4" fmla="*/ 4879966 h 4879966"/>
              <a:gd name="connsiteX5" fmla="*/ 14113 w 4578916"/>
              <a:gd name="connsiteY5" fmla="*/ 4863301 h 4879966"/>
              <a:gd name="connsiteX6" fmla="*/ 0 w 4578916"/>
              <a:gd name="connsiteY6" fmla="*/ 1964951 h 4879966"/>
              <a:gd name="connsiteX0" fmla="*/ 0 w 4578916"/>
              <a:gd name="connsiteY0" fmla="*/ 1938926 h 4853941"/>
              <a:gd name="connsiteX1" fmla="*/ 3206532 w 4578916"/>
              <a:gd name="connsiteY1" fmla="*/ 19520 h 4853941"/>
              <a:gd name="connsiteX2" fmla="*/ 4561967 w 4578916"/>
              <a:gd name="connsiteY2" fmla="*/ 0 h 4853941"/>
              <a:gd name="connsiteX3" fmla="*/ 4578916 w 4578916"/>
              <a:gd name="connsiteY3" fmla="*/ 1372945 h 4853941"/>
              <a:gd name="connsiteX4" fmla="*/ 4578916 w 4578916"/>
              <a:gd name="connsiteY4" fmla="*/ 4853941 h 4853941"/>
              <a:gd name="connsiteX5" fmla="*/ 14113 w 4578916"/>
              <a:gd name="connsiteY5" fmla="*/ 4837276 h 4853941"/>
              <a:gd name="connsiteX6" fmla="*/ 0 w 4578916"/>
              <a:gd name="connsiteY6" fmla="*/ 1938926 h 4853941"/>
              <a:gd name="connsiteX0" fmla="*/ 0 w 4578916"/>
              <a:gd name="connsiteY0" fmla="*/ 1958445 h 4873460"/>
              <a:gd name="connsiteX1" fmla="*/ 3213951 w 4578916"/>
              <a:gd name="connsiteY1" fmla="*/ 0 h 4873460"/>
              <a:gd name="connsiteX2" fmla="*/ 4561967 w 4578916"/>
              <a:gd name="connsiteY2" fmla="*/ 19519 h 4873460"/>
              <a:gd name="connsiteX3" fmla="*/ 4578916 w 4578916"/>
              <a:gd name="connsiteY3" fmla="*/ 1392464 h 4873460"/>
              <a:gd name="connsiteX4" fmla="*/ 4578916 w 4578916"/>
              <a:gd name="connsiteY4" fmla="*/ 4873460 h 4873460"/>
              <a:gd name="connsiteX5" fmla="*/ 14113 w 4578916"/>
              <a:gd name="connsiteY5" fmla="*/ 4856795 h 4873460"/>
              <a:gd name="connsiteX6" fmla="*/ 0 w 4578916"/>
              <a:gd name="connsiteY6" fmla="*/ 1958445 h 4873460"/>
              <a:gd name="connsiteX0" fmla="*/ 0 w 4605145"/>
              <a:gd name="connsiteY0" fmla="*/ 639492 h 4873460"/>
              <a:gd name="connsiteX1" fmla="*/ 3240180 w 4605145"/>
              <a:gd name="connsiteY1" fmla="*/ 0 h 4873460"/>
              <a:gd name="connsiteX2" fmla="*/ 4588196 w 4605145"/>
              <a:gd name="connsiteY2" fmla="*/ 19519 h 4873460"/>
              <a:gd name="connsiteX3" fmla="*/ 4605145 w 4605145"/>
              <a:gd name="connsiteY3" fmla="*/ 1392464 h 4873460"/>
              <a:gd name="connsiteX4" fmla="*/ 4605145 w 4605145"/>
              <a:gd name="connsiteY4" fmla="*/ 4873460 h 4873460"/>
              <a:gd name="connsiteX5" fmla="*/ 40342 w 4605145"/>
              <a:gd name="connsiteY5" fmla="*/ 4856795 h 4873460"/>
              <a:gd name="connsiteX6" fmla="*/ 0 w 4605145"/>
              <a:gd name="connsiteY6" fmla="*/ 639492 h 4873460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40342 w 4605145"/>
              <a:gd name="connsiteY5" fmla="*/ 4837276 h 4853941"/>
              <a:gd name="connsiteX6" fmla="*/ 0 w 4605145"/>
              <a:gd name="connsiteY6" fmla="*/ 619973 h 4853941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5371 w 4605145"/>
              <a:gd name="connsiteY5" fmla="*/ 4837276 h 4853941"/>
              <a:gd name="connsiteX6" fmla="*/ 0 w 4605145"/>
              <a:gd name="connsiteY6" fmla="*/ 619973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05145" h="4853941">
                <a:moveTo>
                  <a:pt x="0" y="619973"/>
                </a:moveTo>
                <a:lnTo>
                  <a:pt x="1028204" y="3486"/>
                </a:lnTo>
                <a:lnTo>
                  <a:pt x="4588196" y="0"/>
                </a:lnTo>
                <a:lnTo>
                  <a:pt x="4605145" y="1372945"/>
                </a:lnTo>
                <a:lnTo>
                  <a:pt x="4605145" y="4853941"/>
                </a:lnTo>
                <a:lnTo>
                  <a:pt x="5371" y="4837276"/>
                </a:lnTo>
                <a:cubicBezTo>
                  <a:pt x="667" y="3224851"/>
                  <a:pt x="4704" y="2232398"/>
                  <a:pt x="0" y="61997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6FD71B1-CBED-C47B-5788-C035F4F39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153" y="2122014"/>
            <a:ext cx="4180115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10" name="Graphic 11">
            <a:extLst>
              <a:ext uri="{FF2B5EF4-FFF2-40B4-BE49-F238E27FC236}">
                <a16:creationId xmlns:a16="http://schemas.microsoft.com/office/drawing/2014/main" id="{3FA6345F-B90E-8588-59FE-7EC71B09C7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1999" y="4703447"/>
            <a:ext cx="2561237" cy="115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9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6">
            <a:extLst>
              <a:ext uri="{FF2B5EF4-FFF2-40B4-BE49-F238E27FC236}">
                <a16:creationId xmlns:a16="http://schemas.microsoft.com/office/drawing/2014/main" id="{15D65AD3-296A-1508-0775-1B3013A1DB6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47240" y="446187"/>
            <a:ext cx="4384436" cy="5965626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401CB1-A176-9B74-4BD8-639459238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4713" y="1525589"/>
            <a:ext cx="4406591" cy="159226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2FBB760-1AD2-1767-D633-32CC74464642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A2DE4C5-887D-3D54-6657-5D755006575D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51223F-3606-CDDD-A3ED-287CBDDF6DD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B6EEDAB-B221-13FC-1A42-25E087226C9F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pic>
        <p:nvPicPr>
          <p:cNvPr id="10" name="Graphic 11">
            <a:extLst>
              <a:ext uri="{FF2B5EF4-FFF2-40B4-BE49-F238E27FC236}">
                <a16:creationId xmlns:a16="http://schemas.microsoft.com/office/drawing/2014/main" id="{CC573C1B-4943-99CB-4510-E6179D9EBC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1999" y="4703447"/>
            <a:ext cx="2561237" cy="115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149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10" name="Picture Placeholder 28">
            <a:extLst>
              <a:ext uri="{FF2B5EF4-FFF2-40B4-BE49-F238E27FC236}">
                <a16:creationId xmlns:a16="http://schemas.microsoft.com/office/drawing/2014/main" id="{D53DA2D6-86FA-456A-EF26-1B36481ABFB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4594" y="1"/>
            <a:ext cx="5758131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43615" h="4853941">
                <a:moveTo>
                  <a:pt x="1616" y="1905"/>
                </a:moveTo>
                <a:lnTo>
                  <a:pt x="4626666" y="0"/>
                </a:lnTo>
                <a:lnTo>
                  <a:pt x="4643615" y="1372945"/>
                </a:lnTo>
                <a:lnTo>
                  <a:pt x="4643615" y="4853941"/>
                </a:lnTo>
                <a:lnTo>
                  <a:pt x="780445" y="4840809"/>
                </a:lnTo>
                <a:cubicBezTo>
                  <a:pt x="53027" y="4396676"/>
                  <a:pt x="1092031" y="5005335"/>
                  <a:pt x="0" y="4374208"/>
                </a:cubicBezTo>
                <a:cubicBezTo>
                  <a:pt x="539" y="2916774"/>
                  <a:pt x="1077" y="1459339"/>
                  <a:pt x="161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64883DD-2533-FC31-9E04-8FE55AC8C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153" y="2122014"/>
            <a:ext cx="4180115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9" name="Graphic 11">
            <a:extLst>
              <a:ext uri="{FF2B5EF4-FFF2-40B4-BE49-F238E27FC236}">
                <a16:creationId xmlns:a16="http://schemas.microsoft.com/office/drawing/2014/main" id="{92AF96D4-F988-7084-FAA2-A87406A457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1999" y="4703447"/>
            <a:ext cx="2561237" cy="115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294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B6B0E12-4549-C484-E1CF-302432E91F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153" y="2122014"/>
            <a:ext cx="4180115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9" name="Graphic 11">
            <a:extLst>
              <a:ext uri="{FF2B5EF4-FFF2-40B4-BE49-F238E27FC236}">
                <a16:creationId xmlns:a16="http://schemas.microsoft.com/office/drawing/2014/main" id="{A6999693-35CE-7931-6E42-831BC5BFE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1999" y="4703447"/>
            <a:ext cx="2561237" cy="1157186"/>
          </a:xfrm>
          <a:prstGeom prst="rect">
            <a:avLst/>
          </a:prstGeom>
        </p:spPr>
      </p:pic>
      <p:sp>
        <p:nvSpPr>
          <p:cNvPr id="6" name="Picture Placeholder 28">
            <a:extLst>
              <a:ext uri="{FF2B5EF4-FFF2-40B4-BE49-F238E27FC236}">
                <a16:creationId xmlns:a16="http://schemas.microsoft.com/office/drawing/2014/main" id="{C2C41E11-8A7B-53B4-142F-A7C69000CD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47666" y="1"/>
            <a:ext cx="5765059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7203 w 4649202"/>
              <a:gd name="connsiteY0" fmla="*/ 1905 h 5039027"/>
              <a:gd name="connsiteX1" fmla="*/ 4632253 w 4649202"/>
              <a:gd name="connsiteY1" fmla="*/ 0 h 5039027"/>
              <a:gd name="connsiteX2" fmla="*/ 4649202 w 4649202"/>
              <a:gd name="connsiteY2" fmla="*/ 1372945 h 5039027"/>
              <a:gd name="connsiteX3" fmla="*/ 4649202 w 4649202"/>
              <a:gd name="connsiteY3" fmla="*/ 4853941 h 5039027"/>
              <a:gd name="connsiteX4" fmla="*/ 786032 w 4649202"/>
              <a:gd name="connsiteY4" fmla="*/ 4840809 h 5039027"/>
              <a:gd name="connsiteX5" fmla="*/ 0 w 4649202"/>
              <a:gd name="connsiteY5" fmla="*/ 4833881 h 5039027"/>
              <a:gd name="connsiteX6" fmla="*/ 7203 w 4649202"/>
              <a:gd name="connsiteY6" fmla="*/ 1905 h 5039027"/>
              <a:gd name="connsiteX0" fmla="*/ 7203 w 4649202"/>
              <a:gd name="connsiteY0" fmla="*/ 1905 h 4853941"/>
              <a:gd name="connsiteX1" fmla="*/ 4632253 w 4649202"/>
              <a:gd name="connsiteY1" fmla="*/ 0 h 4853941"/>
              <a:gd name="connsiteX2" fmla="*/ 4649202 w 4649202"/>
              <a:gd name="connsiteY2" fmla="*/ 1372945 h 4853941"/>
              <a:gd name="connsiteX3" fmla="*/ 4649202 w 4649202"/>
              <a:gd name="connsiteY3" fmla="*/ 4853941 h 4853941"/>
              <a:gd name="connsiteX4" fmla="*/ 0 w 4649202"/>
              <a:gd name="connsiteY4" fmla="*/ 4833881 h 4853941"/>
              <a:gd name="connsiteX5" fmla="*/ 7203 w 4649202"/>
              <a:gd name="connsiteY5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49202" h="4853941">
                <a:moveTo>
                  <a:pt x="7203" y="1905"/>
                </a:moveTo>
                <a:lnTo>
                  <a:pt x="4632253" y="0"/>
                </a:lnTo>
                <a:lnTo>
                  <a:pt x="4649202" y="1372945"/>
                </a:lnTo>
                <a:lnTo>
                  <a:pt x="4649202" y="4853941"/>
                </a:lnTo>
                <a:lnTo>
                  <a:pt x="0" y="4833881"/>
                </a:lnTo>
                <a:cubicBezTo>
                  <a:pt x="539" y="3376447"/>
                  <a:pt x="6664" y="1459339"/>
                  <a:pt x="7203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4078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hank You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pic>
        <p:nvPicPr>
          <p:cNvPr id="9" name="Graphic 11">
            <a:extLst>
              <a:ext uri="{FF2B5EF4-FFF2-40B4-BE49-F238E27FC236}">
                <a16:creationId xmlns:a16="http://schemas.microsoft.com/office/drawing/2014/main" id="{A6999693-35CE-7931-6E42-831BC5BFE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5382" y="4255345"/>
            <a:ext cx="2561237" cy="115718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A946EB5-3976-15F4-ECAD-4EF70F60F5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63000" y="1381670"/>
            <a:ext cx="5666000" cy="204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90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45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hank You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B6B0E12-4549-C484-E1CF-302432E91F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2442" y="1581310"/>
            <a:ext cx="7407117" cy="1320480"/>
          </a:xfrm>
        </p:spPr>
        <p:txBody>
          <a:bodyPr lIns="0" anchor="t">
            <a:noAutofit/>
          </a:bodyPr>
          <a:lstStyle>
            <a:lvl1pPr algn="ctr">
              <a:defRPr lang="en-GB" sz="9600" dirty="0">
                <a:solidFill>
                  <a:srgbClr val="00152B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</a:t>
            </a:r>
            <a:endParaRPr lang="en-GB"/>
          </a:p>
        </p:txBody>
      </p:sp>
      <p:pic>
        <p:nvPicPr>
          <p:cNvPr id="9" name="Graphic 11">
            <a:extLst>
              <a:ext uri="{FF2B5EF4-FFF2-40B4-BE49-F238E27FC236}">
                <a16:creationId xmlns:a16="http://schemas.microsoft.com/office/drawing/2014/main" id="{A6999693-35CE-7931-6E42-831BC5BFE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5382" y="4255345"/>
            <a:ext cx="2561237" cy="115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653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4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1">
            <a:extLst>
              <a:ext uri="{FF2B5EF4-FFF2-40B4-BE49-F238E27FC236}">
                <a16:creationId xmlns:a16="http://schemas.microsoft.com/office/drawing/2014/main" id="{0864CDF0-E040-6EB5-8082-0AFC92D7A2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4886" y="623580"/>
            <a:ext cx="2561237" cy="115718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A9499EC-B4C6-FE56-639A-225C405339CD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DFD1580-B271-3133-D65C-95C538F87153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C480D13-A5D6-FEAD-9736-3644AB1A205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7359CC7-F65D-4EFC-5FD4-78E11812513C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8" name="Picture Placeholder 28">
            <a:extLst>
              <a:ext uri="{FF2B5EF4-FFF2-40B4-BE49-F238E27FC236}">
                <a16:creationId xmlns:a16="http://schemas.microsoft.com/office/drawing/2014/main" id="{9C923BD6-16B7-0FBD-074E-2377357310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8228" y="-1"/>
            <a:ext cx="5733771" cy="689049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4853941"/>
              <a:gd name="connsiteX1" fmla="*/ 4584946 w 4601895"/>
              <a:gd name="connsiteY1" fmla="*/ 0 h 4853941"/>
              <a:gd name="connsiteX2" fmla="*/ 4601895 w 4601895"/>
              <a:gd name="connsiteY2" fmla="*/ 1372945 h 4853941"/>
              <a:gd name="connsiteX3" fmla="*/ 4601895 w 4601895"/>
              <a:gd name="connsiteY3" fmla="*/ 4853941 h 4853941"/>
              <a:gd name="connsiteX4" fmla="*/ 0 w 4601895"/>
              <a:gd name="connsiteY4" fmla="*/ 4850289 h 4853941"/>
              <a:gd name="connsiteX5" fmla="*/ 22979 w 4601895"/>
              <a:gd name="connsiteY5" fmla="*/ 0 h 4853941"/>
              <a:gd name="connsiteX0" fmla="*/ 8142 w 4587058"/>
              <a:gd name="connsiteY0" fmla="*/ 0 h 4856795"/>
              <a:gd name="connsiteX1" fmla="*/ 4570109 w 4587058"/>
              <a:gd name="connsiteY1" fmla="*/ 0 h 4856795"/>
              <a:gd name="connsiteX2" fmla="*/ 4587058 w 4587058"/>
              <a:gd name="connsiteY2" fmla="*/ 1372945 h 4856795"/>
              <a:gd name="connsiteX3" fmla="*/ 4587058 w 4587058"/>
              <a:gd name="connsiteY3" fmla="*/ 4853941 h 4856795"/>
              <a:gd name="connsiteX4" fmla="*/ 0 w 4587058"/>
              <a:gd name="connsiteY4" fmla="*/ 4856795 h 4856795"/>
              <a:gd name="connsiteX5" fmla="*/ 8142 w 4587058"/>
              <a:gd name="connsiteY5" fmla="*/ 0 h 4856795"/>
              <a:gd name="connsiteX0" fmla="*/ 0 w 4578916"/>
              <a:gd name="connsiteY0" fmla="*/ 0 h 4856795"/>
              <a:gd name="connsiteX1" fmla="*/ 4561967 w 4578916"/>
              <a:gd name="connsiteY1" fmla="*/ 0 h 4856795"/>
              <a:gd name="connsiteX2" fmla="*/ 4578916 w 4578916"/>
              <a:gd name="connsiteY2" fmla="*/ 1372945 h 4856795"/>
              <a:gd name="connsiteX3" fmla="*/ 4578916 w 4578916"/>
              <a:gd name="connsiteY3" fmla="*/ 4853941 h 4856795"/>
              <a:gd name="connsiteX4" fmla="*/ 36368 w 4578916"/>
              <a:gd name="connsiteY4" fmla="*/ 4856795 h 4856795"/>
              <a:gd name="connsiteX5" fmla="*/ 0 w 4578916"/>
              <a:gd name="connsiteY5" fmla="*/ 0 h 4856795"/>
              <a:gd name="connsiteX0" fmla="*/ 0 w 4578916"/>
              <a:gd name="connsiteY0" fmla="*/ 0 h 4853941"/>
              <a:gd name="connsiteX1" fmla="*/ 4561967 w 4578916"/>
              <a:gd name="connsiteY1" fmla="*/ 0 h 4853941"/>
              <a:gd name="connsiteX2" fmla="*/ 4578916 w 4578916"/>
              <a:gd name="connsiteY2" fmla="*/ 1372945 h 4853941"/>
              <a:gd name="connsiteX3" fmla="*/ 4578916 w 4578916"/>
              <a:gd name="connsiteY3" fmla="*/ 4853941 h 4853941"/>
              <a:gd name="connsiteX4" fmla="*/ 14113 w 4578916"/>
              <a:gd name="connsiteY4" fmla="*/ 4837276 h 4853941"/>
              <a:gd name="connsiteX5" fmla="*/ 0 w 4578916"/>
              <a:gd name="connsiteY5" fmla="*/ 0 h 4853941"/>
              <a:gd name="connsiteX0" fmla="*/ 0 w 4578916"/>
              <a:gd name="connsiteY0" fmla="*/ 13013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3013 h 4866954"/>
              <a:gd name="connsiteX0" fmla="*/ 0 w 4571497"/>
              <a:gd name="connsiteY0" fmla="*/ 1971458 h 4866954"/>
              <a:gd name="connsiteX1" fmla="*/ 2909800 w 4571497"/>
              <a:gd name="connsiteY1" fmla="*/ 0 h 4866954"/>
              <a:gd name="connsiteX2" fmla="*/ 4554548 w 4571497"/>
              <a:gd name="connsiteY2" fmla="*/ 13013 h 4866954"/>
              <a:gd name="connsiteX3" fmla="*/ 4571497 w 4571497"/>
              <a:gd name="connsiteY3" fmla="*/ 1385958 h 4866954"/>
              <a:gd name="connsiteX4" fmla="*/ 4571497 w 4571497"/>
              <a:gd name="connsiteY4" fmla="*/ 4866954 h 4866954"/>
              <a:gd name="connsiteX5" fmla="*/ 6694 w 4571497"/>
              <a:gd name="connsiteY5" fmla="*/ 4850289 h 4866954"/>
              <a:gd name="connsiteX6" fmla="*/ 0 w 4571497"/>
              <a:gd name="connsiteY6" fmla="*/ 1971458 h 4866954"/>
              <a:gd name="connsiteX0" fmla="*/ 0 w 4578916"/>
              <a:gd name="connsiteY0" fmla="*/ 1951939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951939 h 4866954"/>
              <a:gd name="connsiteX0" fmla="*/ 0 w 4578916"/>
              <a:gd name="connsiteY0" fmla="*/ 1964951 h 4879966"/>
              <a:gd name="connsiteX1" fmla="*/ 3221369 w 4578916"/>
              <a:gd name="connsiteY1" fmla="*/ 0 h 4879966"/>
              <a:gd name="connsiteX2" fmla="*/ 4561967 w 4578916"/>
              <a:gd name="connsiteY2" fmla="*/ 26025 h 4879966"/>
              <a:gd name="connsiteX3" fmla="*/ 4578916 w 4578916"/>
              <a:gd name="connsiteY3" fmla="*/ 1398970 h 4879966"/>
              <a:gd name="connsiteX4" fmla="*/ 4578916 w 4578916"/>
              <a:gd name="connsiteY4" fmla="*/ 4879966 h 4879966"/>
              <a:gd name="connsiteX5" fmla="*/ 14113 w 4578916"/>
              <a:gd name="connsiteY5" fmla="*/ 4863301 h 4879966"/>
              <a:gd name="connsiteX6" fmla="*/ 0 w 4578916"/>
              <a:gd name="connsiteY6" fmla="*/ 1964951 h 4879966"/>
              <a:gd name="connsiteX0" fmla="*/ 0 w 4578916"/>
              <a:gd name="connsiteY0" fmla="*/ 1938926 h 4853941"/>
              <a:gd name="connsiteX1" fmla="*/ 3206532 w 4578916"/>
              <a:gd name="connsiteY1" fmla="*/ 19520 h 4853941"/>
              <a:gd name="connsiteX2" fmla="*/ 4561967 w 4578916"/>
              <a:gd name="connsiteY2" fmla="*/ 0 h 4853941"/>
              <a:gd name="connsiteX3" fmla="*/ 4578916 w 4578916"/>
              <a:gd name="connsiteY3" fmla="*/ 1372945 h 4853941"/>
              <a:gd name="connsiteX4" fmla="*/ 4578916 w 4578916"/>
              <a:gd name="connsiteY4" fmla="*/ 4853941 h 4853941"/>
              <a:gd name="connsiteX5" fmla="*/ 14113 w 4578916"/>
              <a:gd name="connsiteY5" fmla="*/ 4837276 h 4853941"/>
              <a:gd name="connsiteX6" fmla="*/ 0 w 4578916"/>
              <a:gd name="connsiteY6" fmla="*/ 1938926 h 4853941"/>
              <a:gd name="connsiteX0" fmla="*/ 0 w 4578916"/>
              <a:gd name="connsiteY0" fmla="*/ 1958445 h 4873460"/>
              <a:gd name="connsiteX1" fmla="*/ 3213951 w 4578916"/>
              <a:gd name="connsiteY1" fmla="*/ 0 h 4873460"/>
              <a:gd name="connsiteX2" fmla="*/ 4561967 w 4578916"/>
              <a:gd name="connsiteY2" fmla="*/ 19519 h 4873460"/>
              <a:gd name="connsiteX3" fmla="*/ 4578916 w 4578916"/>
              <a:gd name="connsiteY3" fmla="*/ 1392464 h 4873460"/>
              <a:gd name="connsiteX4" fmla="*/ 4578916 w 4578916"/>
              <a:gd name="connsiteY4" fmla="*/ 4873460 h 4873460"/>
              <a:gd name="connsiteX5" fmla="*/ 14113 w 4578916"/>
              <a:gd name="connsiteY5" fmla="*/ 4856795 h 4873460"/>
              <a:gd name="connsiteX6" fmla="*/ 0 w 4578916"/>
              <a:gd name="connsiteY6" fmla="*/ 1958445 h 4873460"/>
              <a:gd name="connsiteX0" fmla="*/ 0 w 4605145"/>
              <a:gd name="connsiteY0" fmla="*/ 639492 h 4873460"/>
              <a:gd name="connsiteX1" fmla="*/ 3240180 w 4605145"/>
              <a:gd name="connsiteY1" fmla="*/ 0 h 4873460"/>
              <a:gd name="connsiteX2" fmla="*/ 4588196 w 4605145"/>
              <a:gd name="connsiteY2" fmla="*/ 19519 h 4873460"/>
              <a:gd name="connsiteX3" fmla="*/ 4605145 w 4605145"/>
              <a:gd name="connsiteY3" fmla="*/ 1392464 h 4873460"/>
              <a:gd name="connsiteX4" fmla="*/ 4605145 w 4605145"/>
              <a:gd name="connsiteY4" fmla="*/ 4873460 h 4873460"/>
              <a:gd name="connsiteX5" fmla="*/ 40342 w 4605145"/>
              <a:gd name="connsiteY5" fmla="*/ 4856795 h 4873460"/>
              <a:gd name="connsiteX6" fmla="*/ 0 w 4605145"/>
              <a:gd name="connsiteY6" fmla="*/ 639492 h 4873460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40342 w 4605145"/>
              <a:gd name="connsiteY5" fmla="*/ 4837276 h 4853941"/>
              <a:gd name="connsiteX6" fmla="*/ 0 w 4605145"/>
              <a:gd name="connsiteY6" fmla="*/ 619973 h 4853941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5371 w 4605145"/>
              <a:gd name="connsiteY5" fmla="*/ 4837276 h 4853941"/>
              <a:gd name="connsiteX6" fmla="*/ 0 w 4605145"/>
              <a:gd name="connsiteY6" fmla="*/ 619973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05145" h="4853941">
                <a:moveTo>
                  <a:pt x="0" y="619973"/>
                </a:moveTo>
                <a:lnTo>
                  <a:pt x="1028204" y="3486"/>
                </a:lnTo>
                <a:lnTo>
                  <a:pt x="4588196" y="0"/>
                </a:lnTo>
                <a:lnTo>
                  <a:pt x="4605145" y="1372945"/>
                </a:lnTo>
                <a:lnTo>
                  <a:pt x="4605145" y="4853941"/>
                </a:lnTo>
                <a:lnTo>
                  <a:pt x="5371" y="4837276"/>
                </a:lnTo>
                <a:cubicBezTo>
                  <a:pt x="667" y="3224851"/>
                  <a:pt x="4704" y="2232398"/>
                  <a:pt x="0" y="61997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2">
            <a:extLst>
              <a:ext uri="{FF2B5EF4-FFF2-40B4-BE49-F238E27FC236}">
                <a16:creationId xmlns:a16="http://schemas.microsoft.com/office/drawing/2014/main" id="{10557EA3-6E05-4842-A671-A81C2A2B69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IN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46E3E61-9788-A87E-E5CD-E322443A6C88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4">
            <a:extLst>
              <a:ext uri="{FF2B5EF4-FFF2-40B4-BE49-F238E27FC236}">
                <a16:creationId xmlns:a16="http://schemas.microsoft.com/office/drawing/2014/main" id="{1EA27538-9C8A-AAC5-D30D-7B15DFD6A0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34BC2702-7B39-2786-4B93-01AC63398B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301581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6">
            <a:extLst>
              <a:ext uri="{FF2B5EF4-FFF2-40B4-BE49-F238E27FC236}">
                <a16:creationId xmlns:a16="http://schemas.microsoft.com/office/drawing/2014/main" id="{424B8EED-75BF-4943-D589-1DD18C389F1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47240" y="446187"/>
            <a:ext cx="4384436" cy="5965626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Graphic 11">
            <a:extLst>
              <a:ext uri="{FF2B5EF4-FFF2-40B4-BE49-F238E27FC236}">
                <a16:creationId xmlns:a16="http://schemas.microsoft.com/office/drawing/2014/main" id="{711BCA60-29FD-0AC4-296F-6457D94DDE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4886" y="623580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C89DE076-1F57-004C-331C-ACE7B3EB77D0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38DC33B-DC13-554E-21AC-4A5FFC99A5C2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9ACB5B0-1600-55B1-3286-2EAE0D2F9348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E9C9C25-EAD4-31D8-85D4-02956E36D14C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3" name="Title 22">
            <a:extLst>
              <a:ext uri="{FF2B5EF4-FFF2-40B4-BE49-F238E27FC236}">
                <a16:creationId xmlns:a16="http://schemas.microsoft.com/office/drawing/2014/main" id="{7A599B83-BA29-65C7-1D4D-A82634F13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IN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BB0095-42A2-722E-FBF8-2EE0186506D4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4">
            <a:extLst>
              <a:ext uri="{FF2B5EF4-FFF2-40B4-BE49-F238E27FC236}">
                <a16:creationId xmlns:a16="http://schemas.microsoft.com/office/drawing/2014/main" id="{A6504B83-111C-DE35-E48A-E99779025E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A58D7975-FBD2-D2CE-24D7-AABD7E07C1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821623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11">
            <a:extLst>
              <a:ext uri="{FF2B5EF4-FFF2-40B4-BE49-F238E27FC236}">
                <a16:creationId xmlns:a16="http://schemas.microsoft.com/office/drawing/2014/main" id="{DEBD4939-A5AC-5E30-86ED-90C2FDCD37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4886" y="623580"/>
            <a:ext cx="2561237" cy="115718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BD6F1E0-26AA-22E1-4355-671A0DC53DF2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5F4E319-0E81-68A8-D686-C4DCA4F64DE3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2DF3F30-548B-B541-4305-E67A9D59DED6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4DC03A9-5A2B-029E-A9A3-2CADDE7E546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14" name="Picture Placeholder 28">
            <a:extLst>
              <a:ext uri="{FF2B5EF4-FFF2-40B4-BE49-F238E27FC236}">
                <a16:creationId xmlns:a16="http://schemas.microsoft.com/office/drawing/2014/main" id="{DB0429D2-E49E-2266-8D3B-AD88AC773A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4594" y="1"/>
            <a:ext cx="5758131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43615" h="4853941">
                <a:moveTo>
                  <a:pt x="1616" y="1905"/>
                </a:moveTo>
                <a:lnTo>
                  <a:pt x="4626666" y="0"/>
                </a:lnTo>
                <a:lnTo>
                  <a:pt x="4643615" y="1372945"/>
                </a:lnTo>
                <a:lnTo>
                  <a:pt x="4643615" y="4853941"/>
                </a:lnTo>
                <a:lnTo>
                  <a:pt x="780445" y="4840809"/>
                </a:lnTo>
                <a:cubicBezTo>
                  <a:pt x="53027" y="4396676"/>
                  <a:pt x="1092031" y="5005335"/>
                  <a:pt x="0" y="4374208"/>
                </a:cubicBezTo>
                <a:cubicBezTo>
                  <a:pt x="539" y="2916774"/>
                  <a:pt x="1077" y="1459339"/>
                  <a:pt x="161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22">
            <a:extLst>
              <a:ext uri="{FF2B5EF4-FFF2-40B4-BE49-F238E27FC236}">
                <a16:creationId xmlns:a16="http://schemas.microsoft.com/office/drawing/2014/main" id="{100C92E1-FB46-E865-00AD-6C219EE29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IN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7C7B893-DCE3-AE98-9276-386EC22FDE1D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4">
            <a:extLst>
              <a:ext uri="{FF2B5EF4-FFF2-40B4-BE49-F238E27FC236}">
                <a16:creationId xmlns:a16="http://schemas.microsoft.com/office/drawing/2014/main" id="{42B0E044-DC37-271F-F1DB-0B4B853177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BC705A57-806B-E456-CCDA-893800EDAB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360459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5563" y="1338103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58123" y="1363942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563" y="388183"/>
            <a:ext cx="4576805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5563" y="2118032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58123" y="2143871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5563" y="2870721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58123" y="2896560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5563" y="3650650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58123" y="3676489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85563" y="4405230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58123" y="4431069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85563" y="518515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458123" y="5210998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FD75159-B984-B26F-8311-60F7E1AA1D69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E75E67-F845-AFEF-DAE4-EABC8DF64E5D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A1745D6-BDF2-EAC3-941D-8194B6A4AE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2" name="Picture Placeholder 26">
            <a:extLst>
              <a:ext uri="{FF2B5EF4-FFF2-40B4-BE49-F238E27FC236}">
                <a16:creationId xmlns:a16="http://schemas.microsoft.com/office/drawing/2014/main" id="{0EC0BCA6-D9B0-B93E-92D0-AB4BBC4EB8CD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B7875E0-82A1-3EC7-D666-3DF52F58858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3432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2791443-6809-8D4F-9966-7CEE87C136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FEA392-9CF1-B94F-BB23-E79DFB2BCC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883B2D1-073D-4B5D-8039-E52398515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51" name="Picture Placeholder 26">
            <a:extLst>
              <a:ext uri="{FF2B5EF4-FFF2-40B4-BE49-F238E27FC236}">
                <a16:creationId xmlns:a16="http://schemas.microsoft.com/office/drawing/2014/main" id="{5E8F5516-B38A-484B-A47A-802A26955F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B2A32391-3567-484A-869F-44FEECB6DB3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199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8651DA9B-1C09-43C3-914E-FB51BCEDD25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4CB8E277-ACFD-43B0-A39F-BE7615C5525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7199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B2D19412-D286-490A-AF62-E31A0BF7D47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id="{DF0C502E-776E-4776-8238-1FE1C83A84C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7199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EF4CACF-C03A-48C7-B822-754560D9C81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2">
            <a:extLst>
              <a:ext uri="{FF2B5EF4-FFF2-40B4-BE49-F238E27FC236}">
                <a16:creationId xmlns:a16="http://schemas.microsoft.com/office/drawing/2014/main" id="{674752F6-7BC7-4D47-8BD4-0F3C188802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7199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AF5D34F2-66E3-41B5-8AED-0BBF0E02971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3">
            <a:extLst>
              <a:ext uri="{FF2B5EF4-FFF2-40B4-BE49-F238E27FC236}">
                <a16:creationId xmlns:a16="http://schemas.microsoft.com/office/drawing/2014/main" id="{5E230149-BE4F-40D6-BD20-6F4E31060B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7199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6B3F4D62-F616-458E-A8DA-D16D04772D2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1907CC7-DD9D-E4EE-9E61-EB5646B8EB6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776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1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8">
            <a:extLst>
              <a:ext uri="{FF2B5EF4-FFF2-40B4-BE49-F238E27FC236}">
                <a16:creationId xmlns:a16="http://schemas.microsoft.com/office/drawing/2014/main" id="{1E1362E9-1368-1DD2-D3CF-E8517E0AA8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33811" y="0"/>
            <a:ext cx="5778916" cy="655041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797205 w 4660375"/>
              <a:gd name="connsiteY4" fmla="*/ 4840809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897762 w 4660375"/>
              <a:gd name="connsiteY4" fmla="*/ 4522950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819551 w 4660375"/>
              <a:gd name="connsiteY4" fmla="*/ 4606083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638775"/>
              <a:gd name="connsiteX1" fmla="*/ 4643426 w 4660375"/>
              <a:gd name="connsiteY1" fmla="*/ 0 h 4638775"/>
              <a:gd name="connsiteX2" fmla="*/ 4660375 w 4660375"/>
              <a:gd name="connsiteY2" fmla="*/ 1372945 h 4638775"/>
              <a:gd name="connsiteX3" fmla="*/ 4649203 w 4660375"/>
              <a:gd name="connsiteY3" fmla="*/ 4638775 h 4638775"/>
              <a:gd name="connsiteX4" fmla="*/ 819551 w 4660375"/>
              <a:gd name="connsiteY4" fmla="*/ 4606083 h 4638775"/>
              <a:gd name="connsiteX5" fmla="*/ 0 w 4660375"/>
              <a:gd name="connsiteY5" fmla="*/ 4115031 h 4638775"/>
              <a:gd name="connsiteX6" fmla="*/ 18376 w 4660375"/>
              <a:gd name="connsiteY6" fmla="*/ 1905 h 4638775"/>
              <a:gd name="connsiteX0" fmla="*/ 18376 w 4660377"/>
              <a:gd name="connsiteY0" fmla="*/ 1905 h 4624104"/>
              <a:gd name="connsiteX1" fmla="*/ 4643426 w 4660377"/>
              <a:gd name="connsiteY1" fmla="*/ 0 h 4624104"/>
              <a:gd name="connsiteX2" fmla="*/ 4660375 w 4660377"/>
              <a:gd name="connsiteY2" fmla="*/ 1372945 h 4624104"/>
              <a:gd name="connsiteX3" fmla="*/ 4660377 w 4660377"/>
              <a:gd name="connsiteY3" fmla="*/ 4624104 h 4624104"/>
              <a:gd name="connsiteX4" fmla="*/ 819551 w 4660377"/>
              <a:gd name="connsiteY4" fmla="*/ 4606083 h 4624104"/>
              <a:gd name="connsiteX5" fmla="*/ 0 w 4660377"/>
              <a:gd name="connsiteY5" fmla="*/ 4115031 h 4624104"/>
              <a:gd name="connsiteX6" fmla="*/ 18376 w 4660377"/>
              <a:gd name="connsiteY6" fmla="*/ 1905 h 4624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60377" h="4624104">
                <a:moveTo>
                  <a:pt x="18376" y="1905"/>
                </a:moveTo>
                <a:lnTo>
                  <a:pt x="4643426" y="0"/>
                </a:lnTo>
                <a:lnTo>
                  <a:pt x="4660375" y="1372945"/>
                </a:lnTo>
                <a:cubicBezTo>
                  <a:pt x="4660376" y="2456665"/>
                  <a:pt x="4660376" y="3540384"/>
                  <a:pt x="4660377" y="4624104"/>
                </a:cubicBezTo>
                <a:lnTo>
                  <a:pt x="819551" y="4606083"/>
                </a:lnTo>
                <a:cubicBezTo>
                  <a:pt x="92133" y="4161950"/>
                  <a:pt x="1092031" y="4746158"/>
                  <a:pt x="0" y="4115031"/>
                </a:cubicBezTo>
                <a:cubicBezTo>
                  <a:pt x="539" y="2657597"/>
                  <a:pt x="17837" y="1459339"/>
                  <a:pt x="1837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B3EDFEB-8067-C546-9170-A0FCA7F9343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281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6">
            <a:extLst>
              <a:ext uri="{FF2B5EF4-FFF2-40B4-BE49-F238E27FC236}">
                <a16:creationId xmlns:a16="http://schemas.microsoft.com/office/drawing/2014/main" id="{34F23F37-E2AA-CD8A-EE67-86938522C0B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76704" y="361559"/>
            <a:ext cx="4106489" cy="5587441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75B13D18-A6A5-0566-06F9-6882C197A1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5546B62-BBF6-EFB8-5C8D-A2DBE2714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DAF5145-4B22-7F0E-9C3D-92E80C802791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AFF62C-650D-EDBE-F9FA-6AADEFCFC7E8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6E18484-8027-ABE8-EDDF-0BE965400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8956CE0-8FA1-4F38-FF53-57FE6554590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053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3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8">
            <a:extLst>
              <a:ext uri="{FF2B5EF4-FFF2-40B4-BE49-F238E27FC236}">
                <a16:creationId xmlns:a16="http://schemas.microsoft.com/office/drawing/2014/main" id="{FBE68FB0-8B34-6316-DB4D-BEA629A601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33811" y="0"/>
            <a:ext cx="5778916" cy="655041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797205 w 4660375"/>
              <a:gd name="connsiteY4" fmla="*/ 4840809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897762 w 4660375"/>
              <a:gd name="connsiteY4" fmla="*/ 4522950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819551 w 4660375"/>
              <a:gd name="connsiteY4" fmla="*/ 4606083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638775"/>
              <a:gd name="connsiteX1" fmla="*/ 4643426 w 4660375"/>
              <a:gd name="connsiteY1" fmla="*/ 0 h 4638775"/>
              <a:gd name="connsiteX2" fmla="*/ 4660375 w 4660375"/>
              <a:gd name="connsiteY2" fmla="*/ 1372945 h 4638775"/>
              <a:gd name="connsiteX3" fmla="*/ 4649203 w 4660375"/>
              <a:gd name="connsiteY3" fmla="*/ 4638775 h 4638775"/>
              <a:gd name="connsiteX4" fmla="*/ 819551 w 4660375"/>
              <a:gd name="connsiteY4" fmla="*/ 4606083 h 4638775"/>
              <a:gd name="connsiteX5" fmla="*/ 0 w 4660375"/>
              <a:gd name="connsiteY5" fmla="*/ 4115031 h 4638775"/>
              <a:gd name="connsiteX6" fmla="*/ 18376 w 4660375"/>
              <a:gd name="connsiteY6" fmla="*/ 1905 h 4638775"/>
              <a:gd name="connsiteX0" fmla="*/ 18376 w 4660377"/>
              <a:gd name="connsiteY0" fmla="*/ 1905 h 4624104"/>
              <a:gd name="connsiteX1" fmla="*/ 4643426 w 4660377"/>
              <a:gd name="connsiteY1" fmla="*/ 0 h 4624104"/>
              <a:gd name="connsiteX2" fmla="*/ 4660375 w 4660377"/>
              <a:gd name="connsiteY2" fmla="*/ 1372945 h 4624104"/>
              <a:gd name="connsiteX3" fmla="*/ 4660377 w 4660377"/>
              <a:gd name="connsiteY3" fmla="*/ 4624104 h 4624104"/>
              <a:gd name="connsiteX4" fmla="*/ 819551 w 4660377"/>
              <a:gd name="connsiteY4" fmla="*/ 4606083 h 4624104"/>
              <a:gd name="connsiteX5" fmla="*/ 0 w 4660377"/>
              <a:gd name="connsiteY5" fmla="*/ 4115031 h 4624104"/>
              <a:gd name="connsiteX6" fmla="*/ 18376 w 4660377"/>
              <a:gd name="connsiteY6" fmla="*/ 1905 h 4624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60377" h="4624104">
                <a:moveTo>
                  <a:pt x="18376" y="1905"/>
                </a:moveTo>
                <a:lnTo>
                  <a:pt x="4643426" y="0"/>
                </a:lnTo>
                <a:lnTo>
                  <a:pt x="4660375" y="1372945"/>
                </a:lnTo>
                <a:cubicBezTo>
                  <a:pt x="4660376" y="2456665"/>
                  <a:pt x="4660376" y="3540384"/>
                  <a:pt x="4660377" y="4624104"/>
                </a:cubicBezTo>
                <a:lnTo>
                  <a:pt x="819551" y="4606083"/>
                </a:lnTo>
                <a:cubicBezTo>
                  <a:pt x="92133" y="4161950"/>
                  <a:pt x="1092031" y="4746158"/>
                  <a:pt x="0" y="4115031"/>
                </a:cubicBezTo>
                <a:cubicBezTo>
                  <a:pt x="539" y="2657597"/>
                  <a:pt x="17837" y="1459339"/>
                  <a:pt x="1837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E522284-760C-36A0-FA38-B757DAF9E9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B765A73-44F2-B919-4760-E5F9ADDC7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82BD16-9B2B-8B0E-A51A-5C3A83AE220D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187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6">
            <a:extLst>
              <a:ext uri="{FF2B5EF4-FFF2-40B4-BE49-F238E27FC236}">
                <a16:creationId xmlns:a16="http://schemas.microsoft.com/office/drawing/2014/main" id="{D0636E4F-6FDF-00D3-3632-6F06CF5810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48969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905750CB-E259-BD75-F2BE-CB97F921F1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4713" y="3642632"/>
            <a:ext cx="5221287" cy="5796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Subtitle goes here</a:t>
            </a:r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0FE92E40-CA31-F03A-1EBB-DCAF2D82CFD3}"/>
              </a:ext>
            </a:extLst>
          </p:cNvPr>
          <p:cNvSpPr txBox="1">
            <a:spLocks/>
          </p:cNvSpPr>
          <p:nvPr userDrawn="1"/>
        </p:nvSpPr>
        <p:spPr>
          <a:xfrm>
            <a:off x="874713" y="2241550"/>
            <a:ext cx="5221287" cy="381000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52000" indent="-25200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504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756000" indent="-252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1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GB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>
                <a:solidFill>
                  <a:schemeClr val="bg1"/>
                </a:solidFill>
              </a:rPr>
              <a:t>Dat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C823B72-5E95-1B66-6940-D213A0D17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209309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EF2C7B-4094-E723-3353-C4FAE8D7043C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0797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256" y="371985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256" y="232097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9AC635-6B6B-0D71-3A53-DE7C0B9A3A1D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F94C0B-58C1-23DD-415C-8662CF01F530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A68C24B-4DEE-2EE9-E5CD-7C95D3CF69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9409A25-15A2-CC9D-8208-AA2AB9AE1AF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551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3542617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241550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0DE953-4336-772F-5C05-C96348BFF8D3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2771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3EBAB9-D682-BEF7-47A5-A248EAB4A86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3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EF3A5B-6573-90EC-55CA-65445E914F10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540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1773238"/>
            <a:ext cx="11303999" cy="436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7AB5BA-2E37-3F90-B732-3BEB4298A01B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151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8">
            <a:extLst>
              <a:ext uri="{FF2B5EF4-FFF2-40B4-BE49-F238E27FC236}">
                <a16:creationId xmlns:a16="http://schemas.microsoft.com/office/drawing/2014/main" id="{D112766B-404B-F99D-6A02-6CBBC9F2D4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53716" y="1"/>
            <a:ext cx="5456756" cy="6526588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3217548 w 4627025"/>
              <a:gd name="connsiteY4" fmla="*/ 4840809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67323 w 4627025"/>
              <a:gd name="connsiteY4" fmla="*/ 482678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17703 w 4627025"/>
              <a:gd name="connsiteY0" fmla="*/ 7619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17703 w 4627025"/>
              <a:gd name="connsiteY6" fmla="*/ 7619 h 4853941"/>
              <a:gd name="connsiteX0" fmla="*/ 19218 w 4627025"/>
              <a:gd name="connsiteY0" fmla="*/ 977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19218 w 4627025"/>
              <a:gd name="connsiteY6" fmla="*/ 977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27025" h="4853941">
                <a:moveTo>
                  <a:pt x="19218" y="977"/>
                </a:moveTo>
                <a:lnTo>
                  <a:pt x="4610076" y="0"/>
                </a:lnTo>
                <a:lnTo>
                  <a:pt x="4627025" y="1372945"/>
                </a:lnTo>
                <a:lnTo>
                  <a:pt x="4627025" y="4853941"/>
                </a:lnTo>
                <a:lnTo>
                  <a:pt x="1082526" y="4838217"/>
                </a:lnTo>
                <a:cubicBezTo>
                  <a:pt x="357280" y="4415039"/>
                  <a:pt x="581640" y="4530534"/>
                  <a:pt x="0" y="4171810"/>
                </a:cubicBezTo>
                <a:lnTo>
                  <a:pt x="19218" y="97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D6EC4A-4E6D-E6FD-0D32-A4B3C1BB0E6F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989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11FA35-AE7B-5F44-216D-849F1F83BCB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2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814A5C-3774-9C49-489A-7A2FA04F8ACC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19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bg1"/>
              </a:buCl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A3F886D-1F21-3A24-EDA7-A2629B24437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626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0089CE2-8593-4EEF-0F02-BCC891DB283E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324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9F9CCB-D2B3-221F-F0C4-9FDE6775624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888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5FA57B-1B2B-199C-B10B-3F2C7C53AEB3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191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4EA6A9-6B98-BF87-57FD-5BAC119CB08F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169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FDE224-EC9D-4E2B-7B90-8C8F46967459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597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66C7B22-C674-F52E-3D12-79991790FAE3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782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D05671-D7BC-3C3E-BCED-15AA7BA61AC9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982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D6EC4A-4E6D-E6FD-0D32-A4B3C1BB0E6F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Picture Placeholder 26">
            <a:extLst>
              <a:ext uri="{FF2B5EF4-FFF2-40B4-BE49-F238E27FC236}">
                <a16:creationId xmlns:a16="http://schemas.microsoft.com/office/drawing/2014/main" id="{45F69565-20C9-04CD-CCFC-1D8FC375014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76704" y="361559"/>
            <a:ext cx="4106489" cy="5587441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070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6935619-FC82-C2D1-EC4C-8ADAF652CC3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566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D18698-6639-9C2F-DB4A-E230128BD99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181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B653487-AEB9-884D-BB99-AB239291984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419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61482A-A8DF-2252-B4F9-05F94F7B1D71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7230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2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3253B7-AD4B-4584-A3FB-5A39DAECC47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442947" y="1779999"/>
            <a:ext cx="3348000" cy="1260000"/>
          </a:xfrm>
        </p:spPr>
        <p:txBody>
          <a:bodyPr/>
          <a:lstStyle>
            <a:lvl1pPr marL="252000" indent="-252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■"/>
              <a:defRPr sz="1200">
                <a:solidFill>
                  <a:schemeClr val="bg1"/>
                </a:solidFill>
              </a:defRPr>
            </a:lvl1pPr>
            <a:lvl2pPr marL="504000">
              <a:spcBef>
                <a:spcPts val="600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bg1"/>
                </a:solidFill>
              </a:defRPr>
            </a:lvl2pPr>
            <a:lvl3pPr marL="756000"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D7E15C-5201-465D-94F1-58DF8A2A3E3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D9D017-591F-4130-B8A8-3B543BDE478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FB4C1B4-E0BE-4F26-A448-A7CF52CEBC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EAC7EFF-C2B4-45C5-B792-B039CBB5EE8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4654698-0003-4FE3-ADA4-E7AF24A3611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buNone/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BF177E6-5097-A3B3-5EA2-22C3C1AFFEF3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795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DE14A7-5854-400A-86FF-2487462EA52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442947" y="1779999"/>
            <a:ext cx="3348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767480-49E3-435C-BB96-3B6BFE3DDF1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9476E80-FC3E-4911-AEB1-E2D1DD08607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3705BB-A763-40E5-B5E0-7FEDBC6BBA1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FF3360C-732E-4D01-AA8C-A329747680E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9127438-5669-4BE6-8B97-A2FFD58A21F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ABBBD6-6ED5-3741-B770-B365483B50B3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301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3D1658-D403-E82B-32F5-D9DFB2391CFF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7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58151" y="1617885"/>
            <a:ext cx="1224430" cy="1298310"/>
          </a:xfrm>
          <a:prstGeom prst="rect">
            <a:avLst/>
          </a:prstGeom>
          <a:blipFill dpi="0" rotWithShape="1">
            <a:blip r:embed="rId2"/>
            <a:srcRect/>
            <a:stretch>
              <a:fillRect l="-9877" t="1" r="-9275" b="-5820"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794E609-96A1-2D49-EAD9-F5C46AF1CF9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793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  <a:noFill/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2D3E10-DC0B-6E87-4EFB-79D80FA1961E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6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ank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F28A9-AB34-B79D-D7E1-BB23882BA4C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031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75B13D18-A6A5-0566-06F9-6882C197A1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5546B62-BBF6-EFB8-5C8D-A2DBE2714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70DFA7C-BC1B-BE30-B0CA-7E93BDC37498}"/>
              </a:ext>
            </a:extLst>
          </p:cNvPr>
          <p:cNvGrpSpPr/>
          <p:nvPr userDrawn="1"/>
        </p:nvGrpSpPr>
        <p:grpSpPr>
          <a:xfrm>
            <a:off x="0" y="6489700"/>
            <a:ext cx="12192000" cy="368300"/>
            <a:chOff x="0" y="6489700"/>
            <a:chExt cx="12192000" cy="3683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C577E60-4221-1CA9-6BCD-DDBE260FA828}"/>
                </a:ext>
              </a:extLst>
            </p:cNvPr>
            <p:cNvSpPr/>
            <p:nvPr userDrawn="1"/>
          </p:nvSpPr>
          <p:spPr>
            <a:xfrm>
              <a:off x="0" y="6489700"/>
              <a:ext cx="12192000" cy="368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3462986-E852-9C35-B89C-130A604D98E1}"/>
                </a:ext>
              </a:extLst>
            </p:cNvPr>
            <p:cNvSpPr txBox="1"/>
            <p:nvPr userDrawn="1"/>
          </p:nvSpPr>
          <p:spPr>
            <a:xfrm>
              <a:off x="442800" y="6612295"/>
              <a:ext cx="2628925" cy="12311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>
              <a:defPPr>
                <a:defRPr lang="en-US"/>
              </a:defPPr>
              <a:lvl1pPr>
                <a:defRPr sz="800" b="1">
                  <a:solidFill>
                    <a:schemeClr val="bg2"/>
                  </a:solidFill>
                  <a:ea typeface="Cambria" panose="02040503050406030204" pitchFamily="18" charset="0"/>
                  <a:cs typeface="Georgia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F614F82A-B1F0-497E-B440-1AC0EA5CDB07}" type="slidenum">
                <a:rPr lang="en-US" b="0" smtClean="0">
                  <a:solidFill>
                    <a:schemeClr val="bg1"/>
                  </a:solidFill>
                </a:rPr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lang="en-US" b="0">
                  <a:solidFill>
                    <a:schemeClr val="bg1"/>
                  </a:solidFill>
                </a:rPr>
                <a:t>          </a:t>
              </a:r>
              <a:r>
                <a:rPr lang="en-US" b="0">
                  <a:solidFill>
                    <a:schemeClr val="bg1"/>
                  </a:solidFill>
                  <a:ea typeface="Cambria" panose="02040503050406030204" pitchFamily="18" charset="0"/>
                  <a:cs typeface="Calibri" charset="0"/>
                </a:rPr>
                <a:t>Copyright © 2024 Genpact. All Rights Reserved.</a:t>
              </a:r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0520EFE-9F21-2968-BCF0-00F841B662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026848" y="6568968"/>
              <a:ext cx="720000" cy="209764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A2410AE-CC37-52AD-66F3-BBF9D7CD0E3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722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921EB0-B5FE-7DF6-F82B-EC7AC01AE3F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3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110233-2E45-FBDE-3388-5E6A75A8FC2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2396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998644-5CFA-5438-C3DF-C0130AF17A3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3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9305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9336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342882-18D7-60C1-808D-B319C5828E2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30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/ Icons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 userDrawn="1"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rgbClr val="0115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7E3823-172A-41D7-9615-01B526ADC265}"/>
              </a:ext>
            </a:extLst>
          </p:cNvPr>
          <p:cNvGrpSpPr/>
          <p:nvPr userDrawn="1"/>
        </p:nvGrpSpPr>
        <p:grpSpPr>
          <a:xfrm>
            <a:off x="5348713" y="390296"/>
            <a:ext cx="377904" cy="521508"/>
            <a:chOff x="5302993" y="401719"/>
            <a:chExt cx="377904" cy="521508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09B9F4C-9DEC-4C04-B351-C0AF80F0C2A2}"/>
                </a:ext>
              </a:extLst>
            </p:cNvPr>
            <p:cNvSpPr/>
            <p:nvPr userDrawn="1"/>
          </p:nvSpPr>
          <p:spPr>
            <a:xfrm>
              <a:off x="5302993" y="401719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1F1A1A7D-1BE7-41E8-AC2D-AE6B08947B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358595" y="510073"/>
              <a:ext cx="266700" cy="3048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1279A0B-D686-D4D4-BB6C-CF1D812BB5FA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2D8685-3D6E-29C9-6CA4-9A6D5F8952B5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E490EB5-5592-2830-CDF2-78294B2620A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3794A51-F3FF-4B52-ACB7-C953D67C42A1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789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D7DA9FC-4A8A-474C-A470-0A89FD6D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7082A0-E26A-4C9D-84EC-E66A1C56E1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06B4988-6484-41EF-A3B1-D23D8B5E83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296306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3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94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2" name="Graphic 11">
            <a:extLst>
              <a:ext uri="{FF2B5EF4-FFF2-40B4-BE49-F238E27FC236}">
                <a16:creationId xmlns:a16="http://schemas.microsoft.com/office/drawing/2014/main" id="{B1BFDB7E-6B06-3C7C-DDA8-9E0F399FF7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9495" y="3230907"/>
            <a:ext cx="2561237" cy="1157186"/>
          </a:xfrm>
          <a:prstGeom prst="rect">
            <a:avLst/>
          </a:prstGeom>
        </p:spPr>
      </p:pic>
      <p:sp>
        <p:nvSpPr>
          <p:cNvPr id="13" name="Picture Placeholder 26">
            <a:extLst>
              <a:ext uri="{FF2B5EF4-FFF2-40B4-BE49-F238E27FC236}">
                <a16:creationId xmlns:a16="http://schemas.microsoft.com/office/drawing/2014/main" id="{67DA778F-892A-104E-A8C3-E9F9C36316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E290EB7-6833-BBD8-441F-555A0B4642C1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1263AC5-1A2F-941A-3634-A008EB4F1CD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F81B735-CE34-D015-434F-1B37E5C6B2B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CD029A8-7362-956F-8584-9A3253FB9CBE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96012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hank You 4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FF2D3D9-1A0C-DD43-AE30-3C5E2D0655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94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6" name="Graphic 11">
            <a:extLst>
              <a:ext uri="{FF2B5EF4-FFF2-40B4-BE49-F238E27FC236}">
                <a16:creationId xmlns:a16="http://schemas.microsoft.com/office/drawing/2014/main" id="{0BF5E502-6AD2-4984-0B6A-F3E5F9C5D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9495" y="3230907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30B05A6-62E3-E18F-A0EF-3CD80638D4AB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0F40161E-00A5-484F-F9F3-DB1D11F1E775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BC4A51E-1F02-9D9E-C7E2-66A6208B9460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D779D10-84FC-D687-DD23-DBF274BF0A15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9" name="Picture Placeholder 28">
            <a:extLst>
              <a:ext uri="{FF2B5EF4-FFF2-40B4-BE49-F238E27FC236}">
                <a16:creationId xmlns:a16="http://schemas.microsoft.com/office/drawing/2014/main" id="{B690C139-F79C-50BB-6241-57DF38A111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8228" y="-1"/>
            <a:ext cx="5733771" cy="689049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4853941"/>
              <a:gd name="connsiteX1" fmla="*/ 4584946 w 4601895"/>
              <a:gd name="connsiteY1" fmla="*/ 0 h 4853941"/>
              <a:gd name="connsiteX2" fmla="*/ 4601895 w 4601895"/>
              <a:gd name="connsiteY2" fmla="*/ 1372945 h 4853941"/>
              <a:gd name="connsiteX3" fmla="*/ 4601895 w 4601895"/>
              <a:gd name="connsiteY3" fmla="*/ 4853941 h 4853941"/>
              <a:gd name="connsiteX4" fmla="*/ 0 w 4601895"/>
              <a:gd name="connsiteY4" fmla="*/ 4850289 h 4853941"/>
              <a:gd name="connsiteX5" fmla="*/ 22979 w 4601895"/>
              <a:gd name="connsiteY5" fmla="*/ 0 h 4853941"/>
              <a:gd name="connsiteX0" fmla="*/ 8142 w 4587058"/>
              <a:gd name="connsiteY0" fmla="*/ 0 h 4856795"/>
              <a:gd name="connsiteX1" fmla="*/ 4570109 w 4587058"/>
              <a:gd name="connsiteY1" fmla="*/ 0 h 4856795"/>
              <a:gd name="connsiteX2" fmla="*/ 4587058 w 4587058"/>
              <a:gd name="connsiteY2" fmla="*/ 1372945 h 4856795"/>
              <a:gd name="connsiteX3" fmla="*/ 4587058 w 4587058"/>
              <a:gd name="connsiteY3" fmla="*/ 4853941 h 4856795"/>
              <a:gd name="connsiteX4" fmla="*/ 0 w 4587058"/>
              <a:gd name="connsiteY4" fmla="*/ 4856795 h 4856795"/>
              <a:gd name="connsiteX5" fmla="*/ 8142 w 4587058"/>
              <a:gd name="connsiteY5" fmla="*/ 0 h 4856795"/>
              <a:gd name="connsiteX0" fmla="*/ 0 w 4578916"/>
              <a:gd name="connsiteY0" fmla="*/ 0 h 4856795"/>
              <a:gd name="connsiteX1" fmla="*/ 4561967 w 4578916"/>
              <a:gd name="connsiteY1" fmla="*/ 0 h 4856795"/>
              <a:gd name="connsiteX2" fmla="*/ 4578916 w 4578916"/>
              <a:gd name="connsiteY2" fmla="*/ 1372945 h 4856795"/>
              <a:gd name="connsiteX3" fmla="*/ 4578916 w 4578916"/>
              <a:gd name="connsiteY3" fmla="*/ 4853941 h 4856795"/>
              <a:gd name="connsiteX4" fmla="*/ 36368 w 4578916"/>
              <a:gd name="connsiteY4" fmla="*/ 4856795 h 4856795"/>
              <a:gd name="connsiteX5" fmla="*/ 0 w 4578916"/>
              <a:gd name="connsiteY5" fmla="*/ 0 h 4856795"/>
              <a:gd name="connsiteX0" fmla="*/ 0 w 4578916"/>
              <a:gd name="connsiteY0" fmla="*/ 0 h 4853941"/>
              <a:gd name="connsiteX1" fmla="*/ 4561967 w 4578916"/>
              <a:gd name="connsiteY1" fmla="*/ 0 h 4853941"/>
              <a:gd name="connsiteX2" fmla="*/ 4578916 w 4578916"/>
              <a:gd name="connsiteY2" fmla="*/ 1372945 h 4853941"/>
              <a:gd name="connsiteX3" fmla="*/ 4578916 w 4578916"/>
              <a:gd name="connsiteY3" fmla="*/ 4853941 h 4853941"/>
              <a:gd name="connsiteX4" fmla="*/ 14113 w 4578916"/>
              <a:gd name="connsiteY4" fmla="*/ 4837276 h 4853941"/>
              <a:gd name="connsiteX5" fmla="*/ 0 w 4578916"/>
              <a:gd name="connsiteY5" fmla="*/ 0 h 4853941"/>
              <a:gd name="connsiteX0" fmla="*/ 0 w 4578916"/>
              <a:gd name="connsiteY0" fmla="*/ 13013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3013 h 4866954"/>
              <a:gd name="connsiteX0" fmla="*/ 0 w 4571497"/>
              <a:gd name="connsiteY0" fmla="*/ 1971458 h 4866954"/>
              <a:gd name="connsiteX1" fmla="*/ 2909800 w 4571497"/>
              <a:gd name="connsiteY1" fmla="*/ 0 h 4866954"/>
              <a:gd name="connsiteX2" fmla="*/ 4554548 w 4571497"/>
              <a:gd name="connsiteY2" fmla="*/ 13013 h 4866954"/>
              <a:gd name="connsiteX3" fmla="*/ 4571497 w 4571497"/>
              <a:gd name="connsiteY3" fmla="*/ 1385958 h 4866954"/>
              <a:gd name="connsiteX4" fmla="*/ 4571497 w 4571497"/>
              <a:gd name="connsiteY4" fmla="*/ 4866954 h 4866954"/>
              <a:gd name="connsiteX5" fmla="*/ 6694 w 4571497"/>
              <a:gd name="connsiteY5" fmla="*/ 4850289 h 4866954"/>
              <a:gd name="connsiteX6" fmla="*/ 0 w 4571497"/>
              <a:gd name="connsiteY6" fmla="*/ 1971458 h 4866954"/>
              <a:gd name="connsiteX0" fmla="*/ 0 w 4578916"/>
              <a:gd name="connsiteY0" fmla="*/ 1951939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951939 h 4866954"/>
              <a:gd name="connsiteX0" fmla="*/ 0 w 4578916"/>
              <a:gd name="connsiteY0" fmla="*/ 1964951 h 4879966"/>
              <a:gd name="connsiteX1" fmla="*/ 3221369 w 4578916"/>
              <a:gd name="connsiteY1" fmla="*/ 0 h 4879966"/>
              <a:gd name="connsiteX2" fmla="*/ 4561967 w 4578916"/>
              <a:gd name="connsiteY2" fmla="*/ 26025 h 4879966"/>
              <a:gd name="connsiteX3" fmla="*/ 4578916 w 4578916"/>
              <a:gd name="connsiteY3" fmla="*/ 1398970 h 4879966"/>
              <a:gd name="connsiteX4" fmla="*/ 4578916 w 4578916"/>
              <a:gd name="connsiteY4" fmla="*/ 4879966 h 4879966"/>
              <a:gd name="connsiteX5" fmla="*/ 14113 w 4578916"/>
              <a:gd name="connsiteY5" fmla="*/ 4863301 h 4879966"/>
              <a:gd name="connsiteX6" fmla="*/ 0 w 4578916"/>
              <a:gd name="connsiteY6" fmla="*/ 1964951 h 4879966"/>
              <a:gd name="connsiteX0" fmla="*/ 0 w 4578916"/>
              <a:gd name="connsiteY0" fmla="*/ 1938926 h 4853941"/>
              <a:gd name="connsiteX1" fmla="*/ 3206532 w 4578916"/>
              <a:gd name="connsiteY1" fmla="*/ 19520 h 4853941"/>
              <a:gd name="connsiteX2" fmla="*/ 4561967 w 4578916"/>
              <a:gd name="connsiteY2" fmla="*/ 0 h 4853941"/>
              <a:gd name="connsiteX3" fmla="*/ 4578916 w 4578916"/>
              <a:gd name="connsiteY3" fmla="*/ 1372945 h 4853941"/>
              <a:gd name="connsiteX4" fmla="*/ 4578916 w 4578916"/>
              <a:gd name="connsiteY4" fmla="*/ 4853941 h 4853941"/>
              <a:gd name="connsiteX5" fmla="*/ 14113 w 4578916"/>
              <a:gd name="connsiteY5" fmla="*/ 4837276 h 4853941"/>
              <a:gd name="connsiteX6" fmla="*/ 0 w 4578916"/>
              <a:gd name="connsiteY6" fmla="*/ 1938926 h 4853941"/>
              <a:gd name="connsiteX0" fmla="*/ 0 w 4578916"/>
              <a:gd name="connsiteY0" fmla="*/ 1958445 h 4873460"/>
              <a:gd name="connsiteX1" fmla="*/ 3213951 w 4578916"/>
              <a:gd name="connsiteY1" fmla="*/ 0 h 4873460"/>
              <a:gd name="connsiteX2" fmla="*/ 4561967 w 4578916"/>
              <a:gd name="connsiteY2" fmla="*/ 19519 h 4873460"/>
              <a:gd name="connsiteX3" fmla="*/ 4578916 w 4578916"/>
              <a:gd name="connsiteY3" fmla="*/ 1392464 h 4873460"/>
              <a:gd name="connsiteX4" fmla="*/ 4578916 w 4578916"/>
              <a:gd name="connsiteY4" fmla="*/ 4873460 h 4873460"/>
              <a:gd name="connsiteX5" fmla="*/ 14113 w 4578916"/>
              <a:gd name="connsiteY5" fmla="*/ 4856795 h 4873460"/>
              <a:gd name="connsiteX6" fmla="*/ 0 w 4578916"/>
              <a:gd name="connsiteY6" fmla="*/ 1958445 h 4873460"/>
              <a:gd name="connsiteX0" fmla="*/ 0 w 4605145"/>
              <a:gd name="connsiteY0" fmla="*/ 639492 h 4873460"/>
              <a:gd name="connsiteX1" fmla="*/ 3240180 w 4605145"/>
              <a:gd name="connsiteY1" fmla="*/ 0 h 4873460"/>
              <a:gd name="connsiteX2" fmla="*/ 4588196 w 4605145"/>
              <a:gd name="connsiteY2" fmla="*/ 19519 h 4873460"/>
              <a:gd name="connsiteX3" fmla="*/ 4605145 w 4605145"/>
              <a:gd name="connsiteY3" fmla="*/ 1392464 h 4873460"/>
              <a:gd name="connsiteX4" fmla="*/ 4605145 w 4605145"/>
              <a:gd name="connsiteY4" fmla="*/ 4873460 h 4873460"/>
              <a:gd name="connsiteX5" fmla="*/ 40342 w 4605145"/>
              <a:gd name="connsiteY5" fmla="*/ 4856795 h 4873460"/>
              <a:gd name="connsiteX6" fmla="*/ 0 w 4605145"/>
              <a:gd name="connsiteY6" fmla="*/ 639492 h 4873460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40342 w 4605145"/>
              <a:gd name="connsiteY5" fmla="*/ 4837276 h 4853941"/>
              <a:gd name="connsiteX6" fmla="*/ 0 w 4605145"/>
              <a:gd name="connsiteY6" fmla="*/ 619973 h 4853941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5371 w 4605145"/>
              <a:gd name="connsiteY5" fmla="*/ 4837276 h 4853941"/>
              <a:gd name="connsiteX6" fmla="*/ 0 w 4605145"/>
              <a:gd name="connsiteY6" fmla="*/ 619973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05145" h="4853941">
                <a:moveTo>
                  <a:pt x="0" y="619973"/>
                </a:moveTo>
                <a:lnTo>
                  <a:pt x="1028204" y="3486"/>
                </a:lnTo>
                <a:lnTo>
                  <a:pt x="4588196" y="0"/>
                </a:lnTo>
                <a:lnTo>
                  <a:pt x="4605145" y="1372945"/>
                </a:lnTo>
                <a:lnTo>
                  <a:pt x="4605145" y="4853941"/>
                </a:lnTo>
                <a:lnTo>
                  <a:pt x="5371" y="4837276"/>
                </a:lnTo>
                <a:cubicBezTo>
                  <a:pt x="667" y="3224851"/>
                  <a:pt x="4704" y="2232398"/>
                  <a:pt x="0" y="61997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3719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hank You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816D8C-2593-E7BE-B0AB-E4CBDDE9CC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94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8" name="Graphic 11">
            <a:extLst>
              <a:ext uri="{FF2B5EF4-FFF2-40B4-BE49-F238E27FC236}">
                <a16:creationId xmlns:a16="http://schemas.microsoft.com/office/drawing/2014/main" id="{040BDE55-27C8-41F7-C17C-EFFE71D3A4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9495" y="3230907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A474A3B-3B7D-2218-6FF2-17981A6CB00B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4300CA2-05A6-AC15-C0DA-02DCCA9694E4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209D129-B9D4-53E2-FD6F-DF745E996592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B1E6F97-02A6-F90F-DDC7-FEE84E95FA44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10" name="Picture Placeholder 28">
            <a:extLst>
              <a:ext uri="{FF2B5EF4-FFF2-40B4-BE49-F238E27FC236}">
                <a16:creationId xmlns:a16="http://schemas.microsoft.com/office/drawing/2014/main" id="{2C7C03C0-DD3A-999B-04F7-CA33502514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4594" y="1"/>
            <a:ext cx="5758131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43615" h="4853941">
                <a:moveTo>
                  <a:pt x="1616" y="1905"/>
                </a:moveTo>
                <a:lnTo>
                  <a:pt x="4626666" y="0"/>
                </a:lnTo>
                <a:lnTo>
                  <a:pt x="4643615" y="1372945"/>
                </a:lnTo>
                <a:lnTo>
                  <a:pt x="4643615" y="4853941"/>
                </a:lnTo>
                <a:lnTo>
                  <a:pt x="780445" y="4840809"/>
                </a:lnTo>
                <a:cubicBezTo>
                  <a:pt x="53027" y="4396676"/>
                  <a:pt x="1092031" y="5005335"/>
                  <a:pt x="0" y="4374208"/>
                </a:cubicBezTo>
                <a:cubicBezTo>
                  <a:pt x="539" y="2916774"/>
                  <a:pt x="1077" y="1459339"/>
                  <a:pt x="161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18589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hank You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816D8C-2593-E7BE-B0AB-E4CBDDE9CC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94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8" name="Graphic 11">
            <a:extLst>
              <a:ext uri="{FF2B5EF4-FFF2-40B4-BE49-F238E27FC236}">
                <a16:creationId xmlns:a16="http://schemas.microsoft.com/office/drawing/2014/main" id="{040BDE55-27C8-41F7-C17C-EFFE71D3A4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9495" y="3230907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10" name="Picture Placeholder 28">
            <a:extLst>
              <a:ext uri="{FF2B5EF4-FFF2-40B4-BE49-F238E27FC236}">
                <a16:creationId xmlns:a16="http://schemas.microsoft.com/office/drawing/2014/main" id="{D53DA2D6-86FA-456A-EF26-1B36481ABFB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22844" y="1"/>
            <a:ext cx="7089882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9385 w 4661384"/>
              <a:gd name="connsiteY0" fmla="*/ 1905 h 5038322"/>
              <a:gd name="connsiteX1" fmla="*/ 4644435 w 4661384"/>
              <a:gd name="connsiteY1" fmla="*/ 0 h 5038322"/>
              <a:gd name="connsiteX2" fmla="*/ 4661384 w 4661384"/>
              <a:gd name="connsiteY2" fmla="*/ 1372945 h 5038322"/>
              <a:gd name="connsiteX3" fmla="*/ 4661384 w 4661384"/>
              <a:gd name="connsiteY3" fmla="*/ 4853941 h 5038322"/>
              <a:gd name="connsiteX4" fmla="*/ 798214 w 4661384"/>
              <a:gd name="connsiteY4" fmla="*/ 4840809 h 5038322"/>
              <a:gd name="connsiteX5" fmla="*/ 0 w 4661384"/>
              <a:gd name="connsiteY5" fmla="*/ 4833056 h 5038322"/>
              <a:gd name="connsiteX6" fmla="*/ 19385 w 4661384"/>
              <a:gd name="connsiteY6" fmla="*/ 1905 h 5038322"/>
              <a:gd name="connsiteX0" fmla="*/ 19385 w 4661384"/>
              <a:gd name="connsiteY0" fmla="*/ 1905 h 4853941"/>
              <a:gd name="connsiteX1" fmla="*/ 4644435 w 4661384"/>
              <a:gd name="connsiteY1" fmla="*/ 0 h 4853941"/>
              <a:gd name="connsiteX2" fmla="*/ 4661384 w 4661384"/>
              <a:gd name="connsiteY2" fmla="*/ 1372945 h 4853941"/>
              <a:gd name="connsiteX3" fmla="*/ 4661384 w 4661384"/>
              <a:gd name="connsiteY3" fmla="*/ 4853941 h 4853941"/>
              <a:gd name="connsiteX4" fmla="*/ 0 w 4661384"/>
              <a:gd name="connsiteY4" fmla="*/ 4833056 h 4853941"/>
              <a:gd name="connsiteX5" fmla="*/ 19385 w 4661384"/>
              <a:gd name="connsiteY5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61384" h="4853941">
                <a:moveTo>
                  <a:pt x="19385" y="1905"/>
                </a:moveTo>
                <a:lnTo>
                  <a:pt x="4644435" y="0"/>
                </a:lnTo>
                <a:lnTo>
                  <a:pt x="4661384" y="1372945"/>
                </a:lnTo>
                <a:lnTo>
                  <a:pt x="4661384" y="4853941"/>
                </a:lnTo>
                <a:lnTo>
                  <a:pt x="0" y="4833056"/>
                </a:lnTo>
                <a:cubicBezTo>
                  <a:pt x="539" y="3375622"/>
                  <a:pt x="18846" y="1459339"/>
                  <a:pt x="19385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3514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157D2C0-3726-7930-ABE8-40D5FC47461D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5046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hank You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11">
            <a:extLst>
              <a:ext uri="{FF2B5EF4-FFF2-40B4-BE49-F238E27FC236}">
                <a16:creationId xmlns:a16="http://schemas.microsoft.com/office/drawing/2014/main" id="{040BDE55-27C8-41F7-C17C-EFFE71D3A4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9495" y="3230907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A474A3B-3B7D-2218-6FF2-17981A6CB00B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4300CA2-05A6-AC15-C0DA-02DCCA9694E4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209D129-B9D4-53E2-FD6F-DF745E996592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B1E6F97-02A6-F90F-DDC7-FEE84E95FA44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60E20E02-BA4D-4AFF-D25B-A5F2BB9934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13" y="1525588"/>
            <a:ext cx="4406591" cy="1592262"/>
          </a:xfrm>
          <a:prstGeom prst="rect">
            <a:avLst/>
          </a:prstGeom>
        </p:spPr>
      </p:pic>
      <p:sp>
        <p:nvSpPr>
          <p:cNvPr id="10" name="Picture Placeholder 26">
            <a:extLst>
              <a:ext uri="{FF2B5EF4-FFF2-40B4-BE49-F238E27FC236}">
                <a16:creationId xmlns:a16="http://schemas.microsoft.com/office/drawing/2014/main" id="{2E585323-66DA-3526-B1A1-BC77B371FAB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47240" y="446187"/>
            <a:ext cx="4384436" cy="5965626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86366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hank You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B6B0E12-4549-C484-E1CF-302432E91F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2442" y="1581310"/>
            <a:ext cx="7407117" cy="1320480"/>
          </a:xfrm>
        </p:spPr>
        <p:txBody>
          <a:bodyPr lIns="0" anchor="t">
            <a:noAutofit/>
          </a:bodyPr>
          <a:lstStyle>
            <a:lvl1pPr algn="ctr">
              <a:defRPr lang="en-GB" sz="96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</a:t>
            </a:r>
            <a:endParaRPr lang="en-GB"/>
          </a:p>
        </p:txBody>
      </p:sp>
      <p:pic>
        <p:nvPicPr>
          <p:cNvPr id="9" name="Graphic 11">
            <a:extLst>
              <a:ext uri="{FF2B5EF4-FFF2-40B4-BE49-F238E27FC236}">
                <a16:creationId xmlns:a16="http://schemas.microsoft.com/office/drawing/2014/main" id="{A6999693-35CE-7931-6E42-831BC5BFE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5382" y="4255345"/>
            <a:ext cx="2561237" cy="115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080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45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hank You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pic>
        <p:nvPicPr>
          <p:cNvPr id="9" name="Graphic 11">
            <a:extLst>
              <a:ext uri="{FF2B5EF4-FFF2-40B4-BE49-F238E27FC236}">
                <a16:creationId xmlns:a16="http://schemas.microsoft.com/office/drawing/2014/main" id="{A6999693-35CE-7931-6E42-831BC5BFE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5382" y="4255345"/>
            <a:ext cx="2561237" cy="115718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A946EB5-3976-15F4-ECAD-4EF70F60F5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63000" y="1381670"/>
            <a:ext cx="5666000" cy="204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45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1">
            <a:extLst>
              <a:ext uri="{FF2B5EF4-FFF2-40B4-BE49-F238E27FC236}">
                <a16:creationId xmlns:a16="http://schemas.microsoft.com/office/drawing/2014/main" id="{4A1C4D03-1D10-8CFE-10B6-2C24A1EFA4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2455" y="3230907"/>
            <a:ext cx="2561237" cy="115718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2C38F0E-785B-3083-4580-75E89B21181C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7C9EBAF-C5F3-7A23-5E45-D7826522736B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E805769-A47F-04E2-56EA-57FBBA4926EC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C8F09C1-C8AA-2972-8F35-93E5633CAAA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2F32A81F-69FE-6A9F-FAAD-98885AD626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94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2900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67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241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2" name="Graphic 11">
            <a:extLst>
              <a:ext uri="{FF2B5EF4-FFF2-40B4-BE49-F238E27FC236}">
                <a16:creationId xmlns:a16="http://schemas.microsoft.com/office/drawing/2014/main" id="{B860FD92-9D84-808A-4985-1FC06945F1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3460" y="74011"/>
            <a:ext cx="2561237" cy="115718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3630BE5-B71B-535C-DA40-DBAC233FC013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66FC056-94C3-99B4-1F71-659A86726CA6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FB1FFB2-41C7-5AC5-60CC-9048898A9CB6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8593155-557C-0468-6023-66CDA2D9C732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03413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theme" Target="../theme/theme1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C512267-2733-8627-BBE5-C54372BE6293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3962B6-595A-4E12-A0A9-6972DDBE6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1" y="388800"/>
            <a:ext cx="11303999" cy="990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30104F-10D5-4E69-8AD4-DB626BE7DA18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D6728C-E3C6-4747-8236-8CE4E25255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000" y="1799999"/>
            <a:ext cx="11303999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empower - DO NOT DELETE!!!" hidden="1">
            <a:extLst>
              <a:ext uri="{FF2B5EF4-FFF2-40B4-BE49-F238E27FC236}">
                <a16:creationId xmlns:a16="http://schemas.microsoft.com/office/drawing/2014/main" id="{F8138B8F-DC43-4331-9714-179CEC0AB132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4CC13D6-A224-76C0-A4B3-75BE8D9D0BE7}"/>
              </a:ext>
            </a:extLst>
          </p:cNvPr>
          <p:cNvPicPr>
            <a:picLocks noChangeAspect="1"/>
          </p:cNvPicPr>
          <p:nvPr userDrawn="1"/>
        </p:nvPicPr>
        <p:blipFill>
          <a:blip r:embed="rId9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8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583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536" r:id="rId2"/>
    <p:sldLayoutId id="2147484537" r:id="rId3"/>
    <p:sldLayoutId id="2147484534" r:id="rId4"/>
    <p:sldLayoutId id="2147484112" r:id="rId5"/>
    <p:sldLayoutId id="2147484373" r:id="rId6"/>
    <p:sldLayoutId id="2147484533" r:id="rId7"/>
    <p:sldLayoutId id="2147484375" r:id="rId8"/>
    <p:sldLayoutId id="2147484115" r:id="rId9"/>
    <p:sldLayoutId id="2147484119" r:id="rId10"/>
    <p:sldLayoutId id="2147484409" r:id="rId11"/>
    <p:sldLayoutId id="2147484118" r:id="rId12"/>
    <p:sldLayoutId id="2147484361" r:id="rId13"/>
    <p:sldLayoutId id="2147484410" r:id="rId14"/>
    <p:sldLayoutId id="2147484127" r:id="rId15"/>
    <p:sldLayoutId id="2147484120" r:id="rId16"/>
    <p:sldLayoutId id="2147484121" r:id="rId17"/>
    <p:sldLayoutId id="2147484360" r:id="rId18"/>
    <p:sldLayoutId id="2147484457" r:id="rId19"/>
    <p:sldLayoutId id="2147484402" r:id="rId20"/>
    <p:sldLayoutId id="2147484122" r:id="rId21"/>
    <p:sldLayoutId id="2147484408" r:id="rId22"/>
    <p:sldLayoutId id="2147484129" r:id="rId23"/>
    <p:sldLayoutId id="2147484369" r:id="rId24"/>
    <p:sldLayoutId id="2147484366" r:id="rId25"/>
    <p:sldLayoutId id="2147484367" r:id="rId26"/>
    <p:sldLayoutId id="2147484365" r:id="rId27"/>
    <p:sldLayoutId id="2147484126" r:id="rId28"/>
    <p:sldLayoutId id="2147484382" r:id="rId29"/>
    <p:sldLayoutId id="2147484407" r:id="rId30"/>
    <p:sldLayoutId id="2147484383" r:id="rId31"/>
    <p:sldLayoutId id="2147484384" r:id="rId32"/>
    <p:sldLayoutId id="2147484385" r:id="rId33"/>
    <p:sldLayoutId id="2147484123" r:id="rId34"/>
    <p:sldLayoutId id="2147484406" r:id="rId35"/>
    <p:sldLayoutId id="2147484368" r:id="rId36"/>
    <p:sldLayoutId id="2147484133" r:id="rId37"/>
    <p:sldLayoutId id="2147484356" r:id="rId38"/>
    <p:sldLayoutId id="2147484468" r:id="rId39"/>
    <p:sldLayoutId id="2147484117" r:id="rId40"/>
    <p:sldLayoutId id="2147484116" r:id="rId41"/>
    <p:sldLayoutId id="2147484525" r:id="rId42"/>
    <p:sldLayoutId id="2147484520" r:id="rId43"/>
    <p:sldLayoutId id="2147484527" r:id="rId44"/>
    <p:sldLayoutId id="2147484530" r:id="rId45"/>
    <p:sldLayoutId id="2147484529" r:id="rId46"/>
    <p:sldLayoutId id="2147484514" r:id="rId47"/>
    <p:sldLayoutId id="2147484515" r:id="rId48"/>
    <p:sldLayoutId id="2147484516" r:id="rId49"/>
    <p:sldLayoutId id="2147484474" r:id="rId50"/>
    <p:sldLayoutId id="2147484517" r:id="rId51"/>
    <p:sldLayoutId id="2147484518" r:id="rId52"/>
    <p:sldLayoutId id="2147484519" r:id="rId53"/>
    <p:sldLayoutId id="2147484475" r:id="rId54"/>
    <p:sldLayoutId id="2147484476" r:id="rId55"/>
    <p:sldLayoutId id="2147484478" r:id="rId56"/>
    <p:sldLayoutId id="2147484482" r:id="rId57"/>
    <p:sldLayoutId id="2147484483" r:id="rId58"/>
    <p:sldLayoutId id="2147484484" r:id="rId59"/>
    <p:sldLayoutId id="2147484485" r:id="rId60"/>
    <p:sldLayoutId id="2147484486" r:id="rId61"/>
    <p:sldLayoutId id="2147484487" r:id="rId62"/>
    <p:sldLayoutId id="2147484488" r:id="rId63"/>
    <p:sldLayoutId id="2147484489" r:id="rId64"/>
    <p:sldLayoutId id="2147484490" r:id="rId65"/>
    <p:sldLayoutId id="2147484491" r:id="rId66"/>
    <p:sldLayoutId id="2147484492" r:id="rId67"/>
    <p:sldLayoutId id="2147484493" r:id="rId68"/>
    <p:sldLayoutId id="2147484495" r:id="rId69"/>
    <p:sldLayoutId id="2147484496" r:id="rId70"/>
    <p:sldLayoutId id="2147484497" r:id="rId71"/>
    <p:sldLayoutId id="2147484498" r:id="rId72"/>
    <p:sldLayoutId id="2147484499" r:id="rId73"/>
    <p:sldLayoutId id="2147484500" r:id="rId74"/>
    <p:sldLayoutId id="2147484501" r:id="rId75"/>
    <p:sldLayoutId id="2147484502" r:id="rId76"/>
    <p:sldLayoutId id="2147484503" r:id="rId77"/>
    <p:sldLayoutId id="2147484504" r:id="rId78"/>
    <p:sldLayoutId id="2147484505" r:id="rId79"/>
    <p:sldLayoutId id="2147484506" r:id="rId80"/>
    <p:sldLayoutId id="2147484507" r:id="rId81"/>
    <p:sldLayoutId id="2147484508" r:id="rId82"/>
    <p:sldLayoutId id="2147484509" r:id="rId83"/>
    <p:sldLayoutId id="2147484510" r:id="rId84"/>
    <p:sldLayoutId id="2147484511" r:id="rId85"/>
    <p:sldLayoutId id="2147484522" r:id="rId86"/>
    <p:sldLayoutId id="2147484523" r:id="rId87"/>
    <p:sldLayoutId id="2147484524" r:id="rId88"/>
    <p:sldLayoutId id="2147484528" r:id="rId89"/>
    <p:sldLayoutId id="2147484526" r:id="rId90"/>
    <p:sldLayoutId id="2147484531" r:id="rId91"/>
    <p:sldLayoutId id="2147484532" r:id="rId92"/>
    <p:sldLayoutId id="2147484512" r:id="rId93"/>
    <p:sldLayoutId id="2147484513" r:id="rId94"/>
  </p:sldLayoutIdLst>
  <p:hf sldNum="0" hdr="0" ftr="0" dt="0"/>
  <p:txStyles>
    <p:title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None/>
        <a:defRPr lang="en-GB" sz="3200" b="0" kern="1200" dirty="0">
          <a:solidFill>
            <a:schemeClr val="tx2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1pPr>
      <a:lvl2pPr marL="252000" indent="-25200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■"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2pPr>
      <a:lvl3pPr marL="504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1"/>
        </a:buClr>
        <a:buSzPct val="80000"/>
        <a:buFont typeface="Arial" panose="020B0604020202020204" pitchFamily="34" charset="0"/>
        <a:buChar char="►"/>
        <a:defRPr lang="en-US" sz="120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3pPr>
      <a:lvl4pPr marL="756000" indent="-252000" algn="l" defTabSz="914400" rtl="0" eaLnBrk="1" latinLnBrk="0" hangingPunct="1">
        <a:lnSpc>
          <a:spcPct val="105000"/>
        </a:lnSpc>
        <a:spcBef>
          <a:spcPts val="3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1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GB" sz="1600" b="1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4088" userDrawn="1">
          <p15:clr>
            <a:srgbClr val="F26B43"/>
          </p15:clr>
        </p15:guide>
        <p15:guide id="11" orient="horz" pos="232" userDrawn="1">
          <p15:clr>
            <a:srgbClr val="F26B43"/>
          </p15:clr>
        </p15:guide>
        <p15:guide id="12" orient="horz" pos="777" userDrawn="1">
          <p15:clr>
            <a:srgbClr val="F26B43"/>
          </p15:clr>
        </p15:guide>
        <p15:guide id="13" orient="horz" pos="913" userDrawn="1">
          <p15:clr>
            <a:srgbClr val="F26B43"/>
          </p15:clr>
        </p15:guide>
        <p15:guide id="14" orient="horz" pos="1117" userDrawn="1">
          <p15:clr>
            <a:srgbClr val="F26B43"/>
          </p15:clr>
        </p15:guide>
        <p15:guide id="15" orient="horz" pos="3861" userDrawn="1">
          <p15:clr>
            <a:srgbClr val="F26B43"/>
          </p15:clr>
        </p15:guide>
        <p15:guide id="16" orient="horz" pos="1412" userDrawn="1">
          <p15:clr>
            <a:srgbClr val="F26B43"/>
          </p15:clr>
        </p15:guide>
        <p15:guide id="17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F2D7495F-E21A-ED45-174E-B6089E88F2A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874715" y="2777060"/>
            <a:ext cx="5221285" cy="970378"/>
          </a:xfrm>
        </p:spPr>
        <p:txBody>
          <a:bodyPr/>
          <a:lstStyle/>
          <a:p>
            <a:r>
              <a:rPr lang="en-US" dirty="0"/>
              <a:t>Why LLM Models Provide Different Answers</a:t>
            </a:r>
            <a:endParaRPr lang="en-IN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9BDDC17-0663-92D6-A88A-B7FE48A9D2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Understanding Variability in AI Respons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051AC9-7339-4C32-D1E9-43AB2CA473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IN" dirty="0"/>
              <a:t>May 30, 2024</a:t>
            </a:r>
          </a:p>
        </p:txBody>
      </p:sp>
      <p:pic>
        <p:nvPicPr>
          <p:cNvPr id="6" name="Picture Placeholder 8" descr="A group of people crossing a street with buildings and people walking&#10;&#10;Description automatically generated">
            <a:extLst>
              <a:ext uri="{FF2B5EF4-FFF2-40B4-BE49-F238E27FC236}">
                <a16:creationId xmlns:a16="http://schemas.microsoft.com/office/drawing/2014/main" id="{B5106245-AE79-3921-A280-7F3CE349E7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15" r="5715"/>
          <a:stretch/>
        </p:blipFill>
        <p:spPr>
          <a:xfrm>
            <a:off x="6847240" y="446187"/>
            <a:ext cx="4384436" cy="5965626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951992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">
            <a:extLst>
              <a:ext uri="{FF2B5EF4-FFF2-40B4-BE49-F238E27FC236}">
                <a16:creationId xmlns:a16="http://schemas.microsoft.com/office/drawing/2014/main" id="{03A5000B-7DB0-4E92-8880-F7ECCCF0EE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919404" y="417059"/>
            <a:ext cx="4356000" cy="570443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D7F208E-7A8A-1D1F-C1F0-9CE771184E2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7" b="7817"/>
          <a:stretch/>
        </p:blipFill>
        <p:spPr>
          <a:xfrm>
            <a:off x="6124615" y="-1"/>
            <a:ext cx="5400119" cy="5460274"/>
          </a:xfr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56DF761-535F-1A9B-E273-6A781629172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874713" y="1016658"/>
            <a:ext cx="4068000" cy="0"/>
          </a:xfrm>
          <a:prstGeom prst="line">
            <a:avLst/>
          </a:prstGeom>
          <a:ln w="19050">
            <a:gradFill>
              <a:gsLst>
                <a:gs pos="3448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ullet_points">
            <a:extLst>
              <a:ext uri="{FF2B5EF4-FFF2-40B4-BE49-F238E27FC236}">
                <a16:creationId xmlns:a16="http://schemas.microsoft.com/office/drawing/2014/main" id="{3A0FEF3C-FAA5-EC77-C927-B5428A7A5C4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67265" y="1238192"/>
            <a:ext cx="4875405" cy="42358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600" b="0" kern="120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6670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1400" b="0" kern="120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504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756000" indent="-252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1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GB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ain players of the compari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7492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EB336D1-9F97-4093-AB23-68674EE09C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244490" y="90487"/>
            <a:ext cx="11377534" cy="570443"/>
          </a:xfrm>
        </p:spPr>
        <p:txBody>
          <a:bodyPr/>
          <a:lstStyle/>
          <a:p>
            <a:pPr marL="0" marR="0">
              <a:spcBef>
                <a:spcPts val="1000"/>
              </a:spcBef>
              <a:spcAft>
                <a:spcPts val="600"/>
              </a:spcAft>
            </a:pPr>
            <a:r>
              <a:rPr lang="en-US" sz="2800" b="1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  <a:endParaRPr lang="en-US" sz="1800" b="1" kern="100" dirty="0">
              <a:solidFill>
                <a:schemeClr val="tx1"/>
              </a:solidFill>
              <a:effectLst/>
              <a:latin typeface="Liberation Serif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B4F7A1-3D57-F78A-A9F3-BB3C3CA4719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99799" y="690086"/>
            <a:ext cx="6552693" cy="0"/>
          </a:xfrm>
          <a:prstGeom prst="line">
            <a:avLst/>
          </a:prstGeom>
          <a:ln w="19050">
            <a:gradFill>
              <a:gsLst>
                <a:gs pos="3448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bullet_points">
            <a:extLst>
              <a:ext uri="{FF2B5EF4-FFF2-40B4-BE49-F238E27FC236}">
                <a16:creationId xmlns:a16="http://schemas.microsoft.com/office/drawing/2014/main" id="{FC63CB46-F540-2278-BD64-F4759A620AB9}"/>
              </a:ext>
            </a:extLst>
          </p:cNvPr>
          <p:cNvSpPr txBox="1"/>
          <p:nvPr/>
        </p:nvSpPr>
        <p:spPr>
          <a:xfrm>
            <a:off x="579180" y="1508103"/>
            <a:ext cx="6713900" cy="4297680"/>
          </a:xfrm>
          <a:prstGeom prst="rect">
            <a:avLst/>
          </a:prstGeom>
        </p:spPr>
        <p:txBody>
          <a:bodyPr vert="horz" wrap="square" lIns="90000" tIns="45720" rIns="91440" bIns="45720" rtlCol="0" anchor="t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Create an Excel spreadsheet comprising a variety of question types to compare and analyze the responses from four different LLM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Since these LLMs are not specialized in any specific domain, the questions will focus on general knowledge topic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Assess and compare the answers provided by each LLM to identify variations and discrepanci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Identify gaps or inconsistencies between the answers generated by the LLM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Propose potential solutions to enhance the accuracy and reliability of the answers provided by the LLMs.</a:t>
            </a:r>
          </a:p>
        </p:txBody>
      </p:sp>
      <p:sp>
        <p:nvSpPr>
          <p:cNvPr id="8" name="heading">
            <a:extLst>
              <a:ext uri="{FF2B5EF4-FFF2-40B4-BE49-F238E27FC236}">
                <a16:creationId xmlns:a16="http://schemas.microsoft.com/office/drawing/2014/main" id="{F0D431EA-FDCA-9FD4-0C1A-ABAFB94EF347}"/>
              </a:ext>
            </a:extLst>
          </p:cNvPr>
          <p:cNvSpPr txBox="1">
            <a:spLocks/>
          </p:cNvSpPr>
          <p:nvPr/>
        </p:nvSpPr>
        <p:spPr>
          <a:xfrm>
            <a:off x="244490" y="808575"/>
            <a:ext cx="11377534" cy="570443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n-GB" sz="3200" b="0" kern="1200" dirty="0">
                <a:solidFill>
                  <a:schemeClr val="tx2"/>
                </a:solidFill>
                <a:latin typeface="+mj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1000"/>
              </a:spcBef>
            </a:pPr>
            <a:r>
              <a:rPr lang="en-US" sz="2200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</a:p>
        </p:txBody>
      </p:sp>
      <p:pic>
        <p:nvPicPr>
          <p:cNvPr id="5" name="image" descr="A lion with a mane&#10;&#10;Description automatically generated">
            <a:extLst>
              <a:ext uri="{FF2B5EF4-FFF2-40B4-BE49-F238E27FC236}">
                <a16:creationId xmlns:a16="http://schemas.microsoft.com/office/drawing/2014/main" id="{DEC2AB7E-BE02-47E1-B433-FFD14D42B2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6044" y="914400"/>
            <a:ext cx="3668537" cy="489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534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EB336D1-9F97-4093-AB23-68674EE09C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244490" y="90487"/>
            <a:ext cx="11377534" cy="570443"/>
          </a:xfrm>
        </p:spPr>
        <p:txBody>
          <a:bodyPr/>
          <a:lstStyle/>
          <a:p>
            <a:pPr marL="0" marR="0">
              <a:spcBef>
                <a:spcPts val="1000"/>
              </a:spcBef>
              <a:spcAft>
                <a:spcPts val="600"/>
              </a:spcAft>
            </a:pPr>
            <a:r>
              <a:rPr lang="en-US" sz="2800" b="1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  <a:endParaRPr lang="en-US" sz="1800" b="1" kern="100" dirty="0">
              <a:solidFill>
                <a:schemeClr val="tx1"/>
              </a:solidFill>
              <a:effectLst/>
              <a:latin typeface="Liberation Serif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B4F7A1-3D57-F78A-A9F3-BB3C3CA4719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99799" y="690086"/>
            <a:ext cx="6552693" cy="0"/>
          </a:xfrm>
          <a:prstGeom prst="line">
            <a:avLst/>
          </a:prstGeom>
          <a:ln w="19050">
            <a:gradFill>
              <a:gsLst>
                <a:gs pos="3448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bullet_points">
            <a:extLst>
              <a:ext uri="{FF2B5EF4-FFF2-40B4-BE49-F238E27FC236}">
                <a16:creationId xmlns:a16="http://schemas.microsoft.com/office/drawing/2014/main" id="{FC63CB46-F540-2278-BD64-F4759A620AB9}"/>
              </a:ext>
            </a:extLst>
          </p:cNvPr>
          <p:cNvSpPr txBox="1"/>
          <p:nvPr/>
        </p:nvSpPr>
        <p:spPr>
          <a:xfrm>
            <a:off x="579180" y="1508103"/>
            <a:ext cx="6713900" cy="4297680"/>
          </a:xfrm>
          <a:prstGeom prst="rect">
            <a:avLst/>
          </a:prstGeom>
        </p:spPr>
        <p:txBody>
          <a:bodyPr vert="horz" wrap="square" lIns="90000" tIns="45720" rIns="91440" bIns="45720" rtlCol="0" anchor="t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Create an Excel spreadsheet comprising a variety of question types to compare and analyze the responses from four different LLM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Since these LLMs are not specialized in any specific domain, the questions will focus on general knowledge topic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Assess and compare the answers provided by each LLM to identify variations and discrepanci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Identify gaps or inconsistencies between the answers generated by the LLM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Propose potential solutions to enhance the accuracy and reliability of the answers provided by the LLMs.</a:t>
            </a:r>
          </a:p>
        </p:txBody>
      </p:sp>
      <p:sp>
        <p:nvSpPr>
          <p:cNvPr id="8" name="heading">
            <a:extLst>
              <a:ext uri="{FF2B5EF4-FFF2-40B4-BE49-F238E27FC236}">
                <a16:creationId xmlns:a16="http://schemas.microsoft.com/office/drawing/2014/main" id="{F0D431EA-FDCA-9FD4-0C1A-ABAFB94EF347}"/>
              </a:ext>
            </a:extLst>
          </p:cNvPr>
          <p:cNvSpPr txBox="1">
            <a:spLocks/>
          </p:cNvSpPr>
          <p:nvPr/>
        </p:nvSpPr>
        <p:spPr>
          <a:xfrm>
            <a:off x="244490" y="808575"/>
            <a:ext cx="11377534" cy="570443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n-GB" sz="3200" b="0" kern="1200" dirty="0">
                <a:solidFill>
                  <a:schemeClr val="tx2"/>
                </a:solidFill>
                <a:latin typeface="+mj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1000"/>
              </a:spcBef>
            </a:pPr>
            <a:r>
              <a:rPr lang="en-US" sz="2200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</a:p>
        </p:txBody>
      </p:sp>
      <p:pic>
        <p:nvPicPr>
          <p:cNvPr id="5" name="image" descr="A lion with a mane&#10;&#10;Description automatically generated">
            <a:extLst>
              <a:ext uri="{FF2B5EF4-FFF2-40B4-BE49-F238E27FC236}">
                <a16:creationId xmlns:a16="http://schemas.microsoft.com/office/drawing/2014/main" id="{DEC2AB7E-BE02-47E1-B433-FFD14D42B2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6044" y="914400"/>
            <a:ext cx="3668537" cy="489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1060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EB336D1-9F97-4093-AB23-68674EE09C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244490" y="90487"/>
            <a:ext cx="11377534" cy="570443"/>
          </a:xfrm>
        </p:spPr>
        <p:txBody>
          <a:bodyPr/>
          <a:lstStyle/>
          <a:p>
            <a:pPr marL="0" marR="0">
              <a:spcBef>
                <a:spcPts val="1000"/>
              </a:spcBef>
              <a:spcAft>
                <a:spcPts val="600"/>
              </a:spcAft>
            </a:pPr>
            <a:r>
              <a:rPr lang="en-US" sz="2800" b="1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  <a:endParaRPr lang="en-US" sz="1800" b="1" kern="100" dirty="0">
              <a:solidFill>
                <a:schemeClr val="tx1"/>
              </a:solidFill>
              <a:effectLst/>
              <a:latin typeface="Liberation Serif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B4F7A1-3D57-F78A-A9F3-BB3C3CA4719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99799" y="690086"/>
            <a:ext cx="6552693" cy="0"/>
          </a:xfrm>
          <a:prstGeom prst="line">
            <a:avLst/>
          </a:prstGeom>
          <a:ln w="19050">
            <a:gradFill>
              <a:gsLst>
                <a:gs pos="3448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bullet_points">
            <a:extLst>
              <a:ext uri="{FF2B5EF4-FFF2-40B4-BE49-F238E27FC236}">
                <a16:creationId xmlns:a16="http://schemas.microsoft.com/office/drawing/2014/main" id="{FC63CB46-F540-2278-BD64-F4759A620AB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31324" y="1497506"/>
            <a:ext cx="7289109" cy="4297680"/>
          </a:xfrm>
          <a:prstGeom prst="rect">
            <a:avLst/>
          </a:prstGeom>
        </p:spPr>
        <p:txBody>
          <a:bodyPr vert="horz" wrap="square" lIns="90000" tIns="45720" rIns="91440" bIns="45720" rtlCol="0" anchor="t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dirty="0">
                <a:solidFill>
                  <a:srgbClr val="01152B"/>
                </a:solidFill>
                <a:effectLst/>
              </a:rPr>
              <a:t>Create an Excel spreadsheet comprising a variety of question types to compare and analyze the responses from four different LLMs.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dirty="0">
                <a:solidFill>
                  <a:srgbClr val="01152B"/>
                </a:solidFill>
                <a:effectLst/>
              </a:rPr>
              <a:t>Since these LLMs are not specialized in any specific domain, the questions will focus on general knowledge topics.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dirty="0">
                <a:solidFill>
                  <a:srgbClr val="01152B"/>
                </a:solidFill>
                <a:effectLst/>
              </a:rPr>
              <a:t>Assess and compare the answers provided by each LLM to identify variations and discrepancies.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dirty="0">
                <a:solidFill>
                  <a:srgbClr val="01152B"/>
                </a:solidFill>
                <a:effectLst/>
              </a:rPr>
              <a:t>Identify gaps or inconsistencies between the answers generated by the LLMs.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dirty="0">
                <a:solidFill>
                  <a:srgbClr val="01152B"/>
                </a:solidFill>
                <a:effectLst/>
              </a:rPr>
              <a:t>Propose potential solutions to enhance the accuracy and reliability of the answers provided by the LLMs.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F0D431EA-FDCA-9FD4-0C1A-ABAFB94EF34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44490" y="808575"/>
            <a:ext cx="11377534" cy="570443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n-GB" sz="3200" b="0" kern="1200" dirty="0">
                <a:solidFill>
                  <a:schemeClr val="tx2"/>
                </a:solidFill>
                <a:latin typeface="+mj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1000"/>
              </a:spcBef>
            </a:pPr>
            <a:r>
              <a:rPr lang="en-US" sz="2200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</a:p>
        </p:txBody>
      </p:sp>
      <p:pic>
        <p:nvPicPr>
          <p:cNvPr id="3" name="Picture Placeholder 14">
            <a:extLst>
              <a:ext uri="{FF2B5EF4-FFF2-40B4-BE49-F238E27FC236}">
                <a16:creationId xmlns:a16="http://schemas.microsoft.com/office/drawing/2014/main" id="{670B85A7-4C2E-D8EC-DDFF-FB41C27655E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" b="102"/>
          <a:stretch/>
        </p:blipFill>
        <p:spPr>
          <a:xfrm>
            <a:off x="7907267" y="0"/>
            <a:ext cx="5456756" cy="6526588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3217548 w 4627025"/>
              <a:gd name="connsiteY4" fmla="*/ 4840809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67323 w 4627025"/>
              <a:gd name="connsiteY4" fmla="*/ 482678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17703 w 4627025"/>
              <a:gd name="connsiteY0" fmla="*/ 7619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17703 w 4627025"/>
              <a:gd name="connsiteY6" fmla="*/ 7619 h 4853941"/>
              <a:gd name="connsiteX0" fmla="*/ 19218 w 4627025"/>
              <a:gd name="connsiteY0" fmla="*/ 977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19218 w 4627025"/>
              <a:gd name="connsiteY6" fmla="*/ 977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27025" h="4853941">
                <a:moveTo>
                  <a:pt x="19218" y="977"/>
                </a:moveTo>
                <a:lnTo>
                  <a:pt x="4610076" y="0"/>
                </a:lnTo>
                <a:lnTo>
                  <a:pt x="4627025" y="1372945"/>
                </a:lnTo>
                <a:lnTo>
                  <a:pt x="4627025" y="4853941"/>
                </a:lnTo>
                <a:lnTo>
                  <a:pt x="1082526" y="4838217"/>
                </a:lnTo>
                <a:cubicBezTo>
                  <a:pt x="357280" y="4415039"/>
                  <a:pt x="581640" y="4530534"/>
                  <a:pt x="0" y="4171810"/>
                </a:cubicBezTo>
                <a:lnTo>
                  <a:pt x="19218" y="977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570721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D732E74-1D8C-2E10-BCF7-CE5AF64BD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489" y="1826593"/>
            <a:ext cx="4180115" cy="990000"/>
          </a:xfrm>
        </p:spPr>
        <p:txBody>
          <a:bodyPr/>
          <a:lstStyle/>
          <a:p>
            <a:r>
              <a:rPr lang="en-US" dirty="0"/>
              <a:t>Thank you</a:t>
            </a:r>
            <a:endParaRPr lang="en-IN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444025C7-2052-B995-584F-10277A613B3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" b="239"/>
          <a:stretch/>
        </p:blipFill>
        <p:spPr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5" name="text">
            <a:extLst>
              <a:ext uri="{FF2B5EF4-FFF2-40B4-BE49-F238E27FC236}">
                <a16:creationId xmlns:a16="http://schemas.microsoft.com/office/drawing/2014/main" id="{D451618F-FB21-5623-B327-7C6C58323EF2}"/>
              </a:ext>
            </a:extLst>
          </p:cNvPr>
          <p:cNvSpPr txBox="1"/>
          <p:nvPr/>
        </p:nvSpPr>
        <p:spPr>
          <a:xfrm>
            <a:off x="699456" y="3677152"/>
            <a:ext cx="5396544" cy="478301"/>
          </a:xfrm>
          <a:prstGeom prst="rect">
            <a:avLst/>
          </a:prstGeom>
        </p:spPr>
        <p:txBody>
          <a:bodyPr vert="horz" wrap="none" lIns="90000" tIns="45720" rIns="91440" bIns="45720" rtlCol="0" anchor="t">
            <a:noAutofit/>
          </a:bodyPr>
          <a:lstStyle/>
          <a:p>
            <a:pPr algn="l"/>
            <a:r>
              <a:rPr lang="en-US" dirty="0"/>
              <a:t>Thanks for listening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9046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60cf1f57-96f0-41c5-80b0-6bdd055b943f"/>
  <p:tag name="MIO_UPDATE" val="True"/>
  <p:tag name="MIO_VERSION" val="28.12.2020 13:34:11"/>
  <p:tag name="MIO_DBID" val="B8FCB12D-AF03-49EB-9F79-BB019BE99E1E"/>
  <p:tag name="MIO_LASTDOWNLOADED" val="28.12.2020 18:24:09.936"/>
  <p:tag name="MIO_OBJECTNAME" val="G"/>
  <p:tag name="MIO_CDID" val="3d435a17-43bc-49ce-8c2a-a6b042be0530"/>
  <p:tag name="MIO_FALLBACK_LAYOUT" val="16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9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heme/theme1.xml><?xml version="1.0" encoding="utf-8"?>
<a:theme xmlns:a="http://schemas.openxmlformats.org/drawingml/2006/main" name="Genpact">
  <a:themeElements>
    <a:clrScheme name="Custom 2">
      <a:dk1>
        <a:srgbClr val="000000"/>
      </a:dk1>
      <a:lt1>
        <a:srgbClr val="FFFFFF"/>
      </a:lt1>
      <a:dk2>
        <a:srgbClr val="021D44"/>
      </a:dk2>
      <a:lt2>
        <a:srgbClr val="798399"/>
      </a:lt2>
      <a:accent1>
        <a:srgbClr val="00AECF"/>
      </a:accent1>
      <a:accent2>
        <a:srgbClr val="FF555F"/>
      </a:accent2>
      <a:accent3>
        <a:srgbClr val="073262"/>
      </a:accent3>
      <a:accent4>
        <a:srgbClr val="007199"/>
      </a:accent4>
      <a:accent5>
        <a:srgbClr val="894560"/>
      </a:accent5>
      <a:accent6>
        <a:srgbClr val="10548C"/>
      </a:accent6>
      <a:hlink>
        <a:srgbClr val="10548C"/>
      </a:hlink>
      <a:folHlink>
        <a:srgbClr val="894560"/>
      </a:folHlink>
    </a:clrScheme>
    <a:fontScheme name="Genpact theme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90000" tIns="45720" rIns="91440" bIns="45720" rtlCol="0" anchor="t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8947D1FA-D558-4397-9DEC-F51A546E4522}" vid="{5FDE3245-4D5E-4FC7-81BA-CFDB4C0A12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New Genpact Colors_2020">
      <a:dk1>
        <a:srgbClr val="000000"/>
      </a:dk1>
      <a:lt1>
        <a:srgbClr val="FFFFFF"/>
      </a:lt1>
      <a:dk2>
        <a:srgbClr val="7B8399"/>
      </a:dk2>
      <a:lt2>
        <a:srgbClr val="073262"/>
      </a:lt2>
      <a:accent1>
        <a:srgbClr val="FF555F"/>
      </a:accent1>
      <a:accent2>
        <a:srgbClr val="00AECF"/>
      </a:accent2>
      <a:accent3>
        <a:srgbClr val="021D44"/>
      </a:accent3>
      <a:accent4>
        <a:srgbClr val="894560"/>
      </a:accent4>
      <a:accent5>
        <a:srgbClr val="007199"/>
      </a:accent5>
      <a:accent6>
        <a:srgbClr val="10548C"/>
      </a:accent6>
      <a:hlink>
        <a:srgbClr val="00AECF"/>
      </a:hlink>
      <a:folHlink>
        <a:srgbClr val="00AEC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72e849b-fc60-49fc-88ef-6f6a3a7352cc" xsi:nil="true"/>
    <Order_number xmlns="2a914f23-b449-448d-b663-2a1b23c2d966" xsi:nil="true"/>
    <lcf76f155ced4ddcb4097134ff3c332f xmlns="2a914f23-b449-448d-b663-2a1b23c2d966">
      <Terms xmlns="http://schemas.microsoft.com/office/infopath/2007/PartnerControls"/>
    </lcf76f155ced4ddcb4097134ff3c332f>
    <SharedWithUsers xmlns="46d55cfa-29f4-41b5-baea-ce5b79e7b9d7">
      <UserInfo>
        <DisplayName>Behera, Anirudh</DisplayName>
        <AccountId>4597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A6C9D3523C5B4E8459C7B2BD275513" ma:contentTypeVersion="19" ma:contentTypeDescription="Create a new document." ma:contentTypeScope="" ma:versionID="90e0ad14029f53893917464dc04aedb6">
  <xsd:schema xmlns:xsd="http://www.w3.org/2001/XMLSchema" xmlns:xs="http://www.w3.org/2001/XMLSchema" xmlns:p="http://schemas.microsoft.com/office/2006/metadata/properties" xmlns:ns2="2a914f23-b449-448d-b663-2a1b23c2d966" xmlns:ns3="46d55cfa-29f4-41b5-baea-ce5b79e7b9d7" xmlns:ns4="372e849b-fc60-49fc-88ef-6f6a3a7352cc" targetNamespace="http://schemas.microsoft.com/office/2006/metadata/properties" ma:root="true" ma:fieldsID="a202d0661597a043da1ada0d87931121" ns2:_="" ns3:_="" ns4:_="">
    <xsd:import namespace="2a914f23-b449-448d-b663-2a1b23c2d966"/>
    <xsd:import namespace="46d55cfa-29f4-41b5-baea-ce5b79e7b9d7"/>
    <xsd:import namespace="372e849b-fc60-49fc-88ef-6f6a3a7352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Order_numbe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914f23-b449-448d-b663-2a1b23c2d9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Order_number" ma:index="15" nillable="true" ma:displayName="Order_number" ma:format="Dropdown" ma:internalName="Order_number" ma:percentage="FALSE">
      <xsd:simpleType>
        <xsd:restriction base="dms:Number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c962de5-690c-40f6-9925-46ff4f3fc1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d55cfa-29f4-41b5-baea-ce5b79e7b9d7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2e849b-fc60-49fc-88ef-6f6a3a7352cc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2b2f069d-9f2d-46c7-9fc6-437b7f706b74}" ma:internalName="TaxCatchAll" ma:showField="CatchAllData" ma:web="46d55cfa-29f4-41b5-baea-ce5b79e7b9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3B7FDEA-BD5D-472C-8905-FDBBDD7D965A}">
  <ds:schemaRefs>
    <ds:schemaRef ds:uri="http://purl.org/dc/elements/1.1/"/>
    <ds:schemaRef ds:uri="2a914f23-b449-448d-b663-2a1b23c2d966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2006/metadata/properties"/>
    <ds:schemaRef ds:uri="372e849b-fc60-49fc-88ef-6f6a3a7352cc"/>
    <ds:schemaRef ds:uri="46d55cfa-29f4-41b5-baea-ce5b79e7b9d7"/>
  </ds:schemaRefs>
</ds:datastoreItem>
</file>

<file path=customXml/itemProps2.xml><?xml version="1.0" encoding="utf-8"?>
<ds:datastoreItem xmlns:ds="http://schemas.openxmlformats.org/officeDocument/2006/customXml" ds:itemID="{CE59D6C4-06C5-4A8B-AE1D-88E8FFD699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914f23-b449-448d-b663-2a1b23c2d966"/>
    <ds:schemaRef ds:uri="46d55cfa-29f4-41b5-baea-ce5b79e7b9d7"/>
    <ds:schemaRef ds:uri="372e849b-fc60-49fc-88ef-6f6a3a7352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E653CEB-BF5A-4085-AC15-A00F4501FE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40</TotalTime>
  <Words>350</Words>
  <Application>Microsoft Office PowerPoint</Application>
  <PresentationFormat>Widescreen</PresentationFormat>
  <Paragraphs>53</Paragraphs>
  <Slides>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Arial Nova</vt:lpstr>
      <vt:lpstr>Calibri</vt:lpstr>
      <vt:lpstr>Cambria</vt:lpstr>
      <vt:lpstr>Georgia</vt:lpstr>
      <vt:lpstr>Liberation Serif</vt:lpstr>
      <vt:lpstr>Wingdings</vt:lpstr>
      <vt:lpstr>Genpact</vt:lpstr>
      <vt:lpstr>Why LLM Models Provide Different Answers</vt:lpstr>
      <vt:lpstr>Agenda</vt:lpstr>
      <vt:lpstr>Proposed step by step methodology</vt:lpstr>
      <vt:lpstr>Proposed step by step methodology</vt:lpstr>
      <vt:lpstr>Proposed step by step methodology</vt:lpstr>
      <vt:lpstr>Thank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pact PowerPoint presentations</dc:title>
  <dc:subject/>
  <dc:creator>Georgina Manzi</dc:creator>
  <cp:keywords/>
  <dc:description/>
  <cp:lastModifiedBy>Steven, Jangam</cp:lastModifiedBy>
  <cp:revision>23</cp:revision>
  <dcterms:created xsi:type="dcterms:W3CDTF">2020-12-29T12:22:53Z</dcterms:created>
  <dcterms:modified xsi:type="dcterms:W3CDTF">2024-06-18T07:24:5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A6C9D3523C5B4E8459C7B2BD275513</vt:lpwstr>
  </property>
  <property fmtid="{D5CDD505-2E9C-101B-9397-08002B2CF9AE}" pid="3" name="MediaServiceImageTags">
    <vt:lpwstr/>
  </property>
</Properties>
</file>